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52"/>
  </p:notesMasterIdLst>
  <p:handoutMasterIdLst>
    <p:handoutMasterId r:id="rId53"/>
  </p:handoutMasterIdLst>
  <p:sldIdLst>
    <p:sldId id="2147140411" r:id="rId5"/>
    <p:sldId id="2147140511" r:id="rId6"/>
    <p:sldId id="2147140425" r:id="rId7"/>
    <p:sldId id="2147140525" r:id="rId8"/>
    <p:sldId id="2147140540" r:id="rId9"/>
    <p:sldId id="2147140484" r:id="rId10"/>
    <p:sldId id="2147140528" r:id="rId11"/>
    <p:sldId id="2147140537" r:id="rId12"/>
    <p:sldId id="2147140529" r:id="rId13"/>
    <p:sldId id="2147140538" r:id="rId14"/>
    <p:sldId id="2147140485" r:id="rId15"/>
    <p:sldId id="2147140506" r:id="rId16"/>
    <p:sldId id="2147140530" r:id="rId17"/>
    <p:sldId id="2147140489" r:id="rId18"/>
    <p:sldId id="2147140497" r:id="rId19"/>
    <p:sldId id="2147140510" r:id="rId20"/>
    <p:sldId id="2147140536" r:id="rId21"/>
    <p:sldId id="2147140490" r:id="rId22"/>
    <p:sldId id="2147140524" r:id="rId23"/>
    <p:sldId id="2147140509" r:id="rId24"/>
    <p:sldId id="2147140513" r:id="rId25"/>
    <p:sldId id="2147140514" r:id="rId26"/>
    <p:sldId id="2147140515" r:id="rId27"/>
    <p:sldId id="2147140533" r:id="rId28"/>
    <p:sldId id="2147140516" r:id="rId29"/>
    <p:sldId id="2147140539" r:id="rId30"/>
    <p:sldId id="2147140448" r:id="rId31"/>
    <p:sldId id="2147140523" r:id="rId32"/>
    <p:sldId id="2147140455" r:id="rId33"/>
    <p:sldId id="2147140479" r:id="rId34"/>
    <p:sldId id="2147140531" r:id="rId35"/>
    <p:sldId id="2147140532" r:id="rId36"/>
    <p:sldId id="2147140534" r:id="rId37"/>
    <p:sldId id="2147140517" r:id="rId38"/>
    <p:sldId id="2147140518" r:id="rId39"/>
    <p:sldId id="2147140520" r:id="rId40"/>
    <p:sldId id="2147140519" r:id="rId41"/>
    <p:sldId id="2147140527" r:id="rId42"/>
    <p:sldId id="2147140526" r:id="rId43"/>
    <p:sldId id="2147140421" r:id="rId44"/>
    <p:sldId id="2147140522" r:id="rId45"/>
    <p:sldId id="2147140423" r:id="rId46"/>
    <p:sldId id="2147140458" r:id="rId47"/>
    <p:sldId id="2147140424" r:id="rId48"/>
    <p:sldId id="2147140450" r:id="rId49"/>
    <p:sldId id="2147140481" r:id="rId50"/>
    <p:sldId id="2147140451" r:id="rId51"/>
  </p:sldIdLst>
  <p:sldSz cx="12192000" cy="6858000"/>
  <p:notesSz cx="6858000" cy="9144000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511"/>
            <p14:sldId id="2147140425"/>
            <p14:sldId id="2147140525"/>
            <p14:sldId id="2147140540"/>
            <p14:sldId id="2147140484"/>
            <p14:sldId id="2147140528"/>
            <p14:sldId id="2147140537"/>
            <p14:sldId id="2147140529"/>
            <p14:sldId id="2147140538"/>
            <p14:sldId id="2147140485"/>
            <p14:sldId id="2147140506"/>
            <p14:sldId id="2147140530"/>
            <p14:sldId id="2147140489"/>
            <p14:sldId id="2147140497"/>
            <p14:sldId id="2147140510"/>
            <p14:sldId id="2147140536"/>
            <p14:sldId id="2147140490"/>
            <p14:sldId id="2147140524"/>
            <p14:sldId id="2147140509"/>
            <p14:sldId id="2147140513"/>
            <p14:sldId id="2147140514"/>
            <p14:sldId id="2147140515"/>
            <p14:sldId id="2147140533"/>
            <p14:sldId id="2147140516"/>
            <p14:sldId id="2147140539"/>
            <p14:sldId id="2147140448"/>
            <p14:sldId id="2147140523"/>
            <p14:sldId id="2147140455"/>
            <p14:sldId id="2147140479"/>
            <p14:sldId id="2147140531"/>
            <p14:sldId id="2147140532"/>
            <p14:sldId id="2147140534"/>
            <p14:sldId id="2147140517"/>
            <p14:sldId id="2147140518"/>
            <p14:sldId id="2147140520"/>
            <p14:sldId id="2147140519"/>
            <p14:sldId id="2147140527"/>
            <p14:sldId id="2147140526"/>
            <p14:sldId id="2147140421"/>
            <p14:sldId id="2147140522"/>
            <p14:sldId id="2147140423"/>
            <p14:sldId id="2147140458"/>
            <p14:sldId id="2147140424"/>
            <p14:sldId id="2147140450"/>
            <p14:sldId id="2147140481"/>
            <p14:sldId id="214714045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987442-388A-3D85-9267-9D330398589D}" name="Rose Khattar" initials="RK" userId="S::rose.khattar@e61.in::ee085c25-62bb-45e9-86e9-73cb89e94472" providerId="AD"/>
  <p188:author id="{BF14334D-2C5C-4C65-D5D1-43BCC612F77C}" name="Erin Clarke" initials="" userId="S::erin.clarke@e61.in::cad22c56-d372-48b4-9ec3-18336bd95bf6" providerId="AD"/>
  <p188:author id="{02212BB9-A5CF-D335-3301-776C81AF3ABE}" name="Lachlan Vass" initials="LV" userId="S::lachlan.vass@e61.in::3865f71c-c396-40c5-8390-2fc8d944de27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  <p188:author id="{B00925FF-888A-87C7-8C00-E30A65508C2A}" name="Pelin Akyol" initials="PA" userId="S::pelin.akyol@e61.in::b561ad94-4baf-4f94-8bc3-bdec80a7d5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29"/>
    <p:restoredTop sz="94605"/>
  </p:normalViewPr>
  <p:slideViewPr>
    <p:cSldViewPr snapToGrid="0">
      <p:cViewPr varScale="1">
        <p:scale>
          <a:sx n="104" d="100"/>
          <a:sy n="104" d="100"/>
        </p:scale>
        <p:origin x="44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CBD56D-15FC-488E-9BB0-7153C98A44FD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9DA88695-658A-4464-8CBF-7B2238377EE3}">
      <dgm:prSet phldrT="[Text]"/>
      <dgm:spPr/>
      <dgm:t>
        <a:bodyPr/>
        <a:lstStyle/>
        <a:p>
          <a:r>
            <a:rPr lang="en-US"/>
            <a:t>Job loss</a:t>
          </a:r>
          <a:endParaRPr lang="en-AU"/>
        </a:p>
      </dgm:t>
    </dgm:pt>
    <dgm:pt modelId="{E0FD3DA9-1F37-453D-9B6B-D3F46A578C6A}" type="parTrans" cxnId="{6EEABC8D-B820-4CB1-AF4D-6527DDED962A}">
      <dgm:prSet/>
      <dgm:spPr/>
      <dgm:t>
        <a:bodyPr/>
        <a:lstStyle/>
        <a:p>
          <a:endParaRPr lang="en-AU"/>
        </a:p>
      </dgm:t>
    </dgm:pt>
    <dgm:pt modelId="{C2594D75-9F36-4C9A-8CD8-C4DD677DCB33}" type="sibTrans" cxnId="{6EEABC8D-B820-4CB1-AF4D-6527DDED962A}">
      <dgm:prSet/>
      <dgm:spPr/>
      <dgm:t>
        <a:bodyPr/>
        <a:lstStyle/>
        <a:p>
          <a:endParaRPr lang="en-AU"/>
        </a:p>
      </dgm:t>
    </dgm:pt>
    <dgm:pt modelId="{F951A0BD-6477-45F0-A0C3-9D2062E54824}">
      <dgm:prSet phldrT="[Text]"/>
      <dgm:spPr/>
      <dgm:t>
        <a:bodyPr/>
        <a:lstStyle/>
        <a:p>
          <a:r>
            <a:rPr lang="en-US"/>
            <a:t>Benefit application</a:t>
          </a:r>
          <a:endParaRPr lang="en-AU"/>
        </a:p>
      </dgm:t>
    </dgm:pt>
    <dgm:pt modelId="{6CC3D62B-CC52-4110-AD1C-A932A60243F4}" type="parTrans" cxnId="{26F972F4-8860-4163-A2FB-A688E8F306B7}">
      <dgm:prSet/>
      <dgm:spPr/>
      <dgm:t>
        <a:bodyPr/>
        <a:lstStyle/>
        <a:p>
          <a:endParaRPr lang="en-AU"/>
        </a:p>
      </dgm:t>
    </dgm:pt>
    <dgm:pt modelId="{3703EB83-E135-479F-A9AC-3470FF05781A}" type="sibTrans" cxnId="{26F972F4-8860-4163-A2FB-A688E8F306B7}">
      <dgm:prSet/>
      <dgm:spPr/>
      <dgm:t>
        <a:bodyPr/>
        <a:lstStyle/>
        <a:p>
          <a:endParaRPr lang="en-AU"/>
        </a:p>
      </dgm:t>
    </dgm:pt>
    <dgm:pt modelId="{B7A6EC37-B0A8-4929-A93C-352EE9B75DEF}">
      <dgm:prSet phldrT="[Text]"/>
      <dgm:spPr/>
      <dgm:t>
        <a:bodyPr/>
        <a:lstStyle/>
        <a:p>
          <a:r>
            <a:rPr lang="en-US"/>
            <a:t>Approval</a:t>
          </a:r>
          <a:endParaRPr lang="en-AU"/>
        </a:p>
      </dgm:t>
    </dgm:pt>
    <dgm:pt modelId="{5E2322E7-8561-4B92-9E38-43DC4624BAF1}" type="parTrans" cxnId="{7E14CAEA-2C86-46FA-91E6-C3D7B7F24716}">
      <dgm:prSet/>
      <dgm:spPr/>
      <dgm:t>
        <a:bodyPr/>
        <a:lstStyle/>
        <a:p>
          <a:endParaRPr lang="en-AU"/>
        </a:p>
      </dgm:t>
    </dgm:pt>
    <dgm:pt modelId="{0C1F0E1E-C281-4A8F-97F8-E816E068E942}" type="sibTrans" cxnId="{7E14CAEA-2C86-46FA-91E6-C3D7B7F24716}">
      <dgm:prSet/>
      <dgm:spPr/>
      <dgm:t>
        <a:bodyPr/>
        <a:lstStyle/>
        <a:p>
          <a:endParaRPr lang="en-AU"/>
        </a:p>
      </dgm:t>
    </dgm:pt>
    <dgm:pt modelId="{8E00B3D9-7438-4416-B605-A6731831956F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ACEE7473-DFDF-47AC-8628-03E738EA80AF}" type="parTrans" cxnId="{2370B39D-3AF0-42C7-B4E0-467E70EC3F2A}">
      <dgm:prSet/>
      <dgm:spPr/>
      <dgm:t>
        <a:bodyPr/>
        <a:lstStyle/>
        <a:p>
          <a:endParaRPr lang="en-AU"/>
        </a:p>
      </dgm:t>
    </dgm:pt>
    <dgm:pt modelId="{4E919960-6A6F-4AA9-8627-B495D3C89882}" type="sibTrans" cxnId="{2370B39D-3AF0-42C7-B4E0-467E70EC3F2A}">
      <dgm:prSet/>
      <dgm:spPr/>
      <dgm:t>
        <a:bodyPr/>
        <a:lstStyle/>
        <a:p>
          <a:endParaRPr lang="en-AU"/>
        </a:p>
      </dgm:t>
    </dgm:pt>
    <dgm:pt modelId="{97643B9F-466E-496F-BD9B-9634E164FC1A}">
      <dgm:prSet phldrT="[Text]"/>
      <dgm:spPr/>
      <dgm:t>
        <a:bodyPr/>
        <a:lstStyle/>
        <a:p>
          <a:r>
            <a:rPr lang="en-US"/>
            <a:t>No application</a:t>
          </a:r>
          <a:endParaRPr lang="en-AU"/>
        </a:p>
      </dgm:t>
    </dgm:pt>
    <dgm:pt modelId="{D7B4AEC1-D097-4EC5-9CCC-09676C9B8C33}" type="parTrans" cxnId="{35E99128-988B-476B-BB0A-B185E2777EB4}">
      <dgm:prSet/>
      <dgm:spPr/>
      <dgm:t>
        <a:bodyPr/>
        <a:lstStyle/>
        <a:p>
          <a:endParaRPr lang="en-AU"/>
        </a:p>
      </dgm:t>
    </dgm:pt>
    <dgm:pt modelId="{CB653BC3-261B-4AF6-B995-199EBC93F01C}" type="sibTrans" cxnId="{35E99128-988B-476B-BB0A-B185E2777EB4}">
      <dgm:prSet/>
      <dgm:spPr/>
      <dgm:t>
        <a:bodyPr/>
        <a:lstStyle/>
        <a:p>
          <a:endParaRPr lang="en-AU"/>
        </a:p>
      </dgm:t>
    </dgm:pt>
    <dgm:pt modelId="{497AB8E9-01C9-4BC1-A436-3B42ADEBBA8D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6186A53C-6D8F-4AED-90D9-8A228D640825}" type="parTrans" cxnId="{56AB8584-14FE-4384-8023-998330515248}">
      <dgm:prSet/>
      <dgm:spPr/>
      <dgm:t>
        <a:bodyPr/>
        <a:lstStyle/>
        <a:p>
          <a:endParaRPr lang="en-AU"/>
        </a:p>
      </dgm:t>
    </dgm:pt>
    <dgm:pt modelId="{441E3650-8A5C-4999-A7E0-389E405C24A1}" type="sibTrans" cxnId="{56AB8584-14FE-4384-8023-998330515248}">
      <dgm:prSet/>
      <dgm:spPr/>
      <dgm:t>
        <a:bodyPr/>
        <a:lstStyle/>
        <a:p>
          <a:endParaRPr lang="en-AU"/>
        </a:p>
      </dgm:t>
    </dgm:pt>
    <dgm:pt modelId="{CAF7CE16-7C55-471F-B04A-29C067A1ED8E}" type="pres">
      <dgm:prSet presAssocID="{70CBD56D-15FC-488E-9BB0-7153C98A44F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C956CAA-30BD-4BBB-B111-202EE30FFDF3}" type="pres">
      <dgm:prSet presAssocID="{9DA88695-658A-4464-8CBF-7B2238377EE3}" presName="hierRoot1" presStyleCnt="0"/>
      <dgm:spPr/>
    </dgm:pt>
    <dgm:pt modelId="{79A137D9-26DB-41CB-9FFA-65B7AADE75C4}" type="pres">
      <dgm:prSet presAssocID="{9DA88695-658A-4464-8CBF-7B2238377EE3}" presName="composite" presStyleCnt="0"/>
      <dgm:spPr/>
    </dgm:pt>
    <dgm:pt modelId="{9382D173-BBD8-468A-BFD6-2F412E15A3AA}" type="pres">
      <dgm:prSet presAssocID="{9DA88695-658A-4464-8CBF-7B2238377EE3}" presName="image" presStyleLbl="node0" presStyleIdx="0" presStyleCnt="1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iefcase with solid fill"/>
        </a:ext>
      </dgm:extLst>
    </dgm:pt>
    <dgm:pt modelId="{C137704F-E2BD-488C-BD6C-01ECD6EA4795}" type="pres">
      <dgm:prSet presAssocID="{9DA88695-658A-4464-8CBF-7B2238377EE3}" presName="text" presStyleLbl="revTx" presStyleIdx="0" presStyleCnt="6">
        <dgm:presLayoutVars>
          <dgm:chPref val="3"/>
        </dgm:presLayoutVars>
      </dgm:prSet>
      <dgm:spPr/>
    </dgm:pt>
    <dgm:pt modelId="{A572DCDE-606B-4849-9126-4DEE0F9C968C}" type="pres">
      <dgm:prSet presAssocID="{9DA88695-658A-4464-8CBF-7B2238377EE3}" presName="hierChild2" presStyleCnt="0"/>
      <dgm:spPr/>
    </dgm:pt>
    <dgm:pt modelId="{02715925-9C71-4F75-8C25-2DEC4F1EFB34}" type="pres">
      <dgm:prSet presAssocID="{6CC3D62B-CC52-4110-AD1C-A932A60243F4}" presName="Name10" presStyleLbl="parChTrans1D2" presStyleIdx="0" presStyleCnt="2"/>
      <dgm:spPr/>
    </dgm:pt>
    <dgm:pt modelId="{BAF11527-51C4-457D-8EBA-410BAA8E9906}" type="pres">
      <dgm:prSet presAssocID="{F951A0BD-6477-45F0-A0C3-9D2062E54824}" presName="hierRoot2" presStyleCnt="0"/>
      <dgm:spPr/>
    </dgm:pt>
    <dgm:pt modelId="{60572029-0AB9-4A1A-99D8-08A895A8569C}" type="pres">
      <dgm:prSet presAssocID="{F951A0BD-6477-45F0-A0C3-9D2062E54824}" presName="composite2" presStyleCnt="0"/>
      <dgm:spPr/>
    </dgm:pt>
    <dgm:pt modelId="{2985AD6C-B8E7-47EF-8A4B-2D1492695B74}" type="pres">
      <dgm:prSet presAssocID="{F951A0BD-6477-45F0-A0C3-9D2062E54824}" presName="image2" presStyleLbl="node2" presStyleIdx="0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envelope with solid fill"/>
        </a:ext>
      </dgm:extLst>
    </dgm:pt>
    <dgm:pt modelId="{242A5515-3D65-48CF-99E9-1F9B1F7AFE81}" type="pres">
      <dgm:prSet presAssocID="{F951A0BD-6477-45F0-A0C3-9D2062E54824}" presName="text2" presStyleLbl="revTx" presStyleIdx="1" presStyleCnt="6">
        <dgm:presLayoutVars>
          <dgm:chPref val="3"/>
        </dgm:presLayoutVars>
      </dgm:prSet>
      <dgm:spPr/>
    </dgm:pt>
    <dgm:pt modelId="{B651A5CD-74CF-4964-BF38-B067F0512214}" type="pres">
      <dgm:prSet presAssocID="{F951A0BD-6477-45F0-A0C3-9D2062E54824}" presName="hierChild3" presStyleCnt="0"/>
      <dgm:spPr/>
    </dgm:pt>
    <dgm:pt modelId="{F88B3CCF-B388-4F61-9E01-A68E98586F67}" type="pres">
      <dgm:prSet presAssocID="{5E2322E7-8561-4B92-9E38-43DC4624BAF1}" presName="Name17" presStyleLbl="parChTrans1D3" presStyleIdx="0" presStyleCnt="3"/>
      <dgm:spPr/>
    </dgm:pt>
    <dgm:pt modelId="{23A984AB-60C0-4F51-9845-B1546934DA4F}" type="pres">
      <dgm:prSet presAssocID="{B7A6EC37-B0A8-4929-A93C-352EE9B75DEF}" presName="hierRoot3" presStyleCnt="0"/>
      <dgm:spPr/>
    </dgm:pt>
    <dgm:pt modelId="{6AC1D22A-72FF-41D8-B6AC-276A1476E342}" type="pres">
      <dgm:prSet presAssocID="{B7A6EC37-B0A8-4929-A93C-352EE9B75DEF}" presName="composite3" presStyleCnt="0"/>
      <dgm:spPr/>
    </dgm:pt>
    <dgm:pt modelId="{B0687140-AE12-4B89-A5EA-7B6A47FD2A95}" type="pres">
      <dgm:prSet presAssocID="{B7A6EC37-B0A8-4929-A93C-352EE9B75DEF}" presName="image3" presStyleLbl="node3" presStyleIdx="0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ney with solid fill"/>
        </a:ext>
      </dgm:extLst>
    </dgm:pt>
    <dgm:pt modelId="{B3379969-EDFE-4B50-A755-0A082A8392E0}" type="pres">
      <dgm:prSet presAssocID="{B7A6EC37-B0A8-4929-A93C-352EE9B75DEF}" presName="text3" presStyleLbl="revTx" presStyleIdx="2" presStyleCnt="6">
        <dgm:presLayoutVars>
          <dgm:chPref val="3"/>
        </dgm:presLayoutVars>
      </dgm:prSet>
      <dgm:spPr/>
    </dgm:pt>
    <dgm:pt modelId="{276AEDA7-A395-4D72-9F33-95CAA230BC94}" type="pres">
      <dgm:prSet presAssocID="{B7A6EC37-B0A8-4929-A93C-352EE9B75DEF}" presName="hierChild4" presStyleCnt="0"/>
      <dgm:spPr/>
    </dgm:pt>
    <dgm:pt modelId="{72A59A19-3BC4-44C1-B2E3-115BC37C6AE4}" type="pres">
      <dgm:prSet presAssocID="{ACEE7473-DFDF-47AC-8628-03E738EA80AF}" presName="Name17" presStyleLbl="parChTrans1D3" presStyleIdx="1" presStyleCnt="3"/>
      <dgm:spPr/>
    </dgm:pt>
    <dgm:pt modelId="{85986EBA-6CE9-48E0-B8F6-041C3D616484}" type="pres">
      <dgm:prSet presAssocID="{8E00B3D9-7438-4416-B605-A6731831956F}" presName="hierRoot3" presStyleCnt="0"/>
      <dgm:spPr/>
    </dgm:pt>
    <dgm:pt modelId="{4F1E8447-A514-4C39-9C32-C4FFD4E48CB0}" type="pres">
      <dgm:prSet presAssocID="{8E00B3D9-7438-4416-B605-A6731831956F}" presName="composite3" presStyleCnt="0"/>
      <dgm:spPr/>
    </dgm:pt>
    <dgm:pt modelId="{E4D31C95-6140-4F3B-BA05-7081C03CBC56}" type="pres">
      <dgm:prSet presAssocID="{8E00B3D9-7438-4416-B605-A6731831956F}" presName="image3" presStyleLbl="node3" presStyleIdx="1" presStyleCnt="3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o Touch with solid fill"/>
        </a:ext>
      </dgm:extLst>
    </dgm:pt>
    <dgm:pt modelId="{85332435-8F2B-4260-95A7-90B2362DB440}" type="pres">
      <dgm:prSet presAssocID="{8E00B3D9-7438-4416-B605-A6731831956F}" presName="text3" presStyleLbl="revTx" presStyleIdx="3" presStyleCnt="6">
        <dgm:presLayoutVars>
          <dgm:chPref val="3"/>
        </dgm:presLayoutVars>
      </dgm:prSet>
      <dgm:spPr/>
    </dgm:pt>
    <dgm:pt modelId="{0BDC3C0B-A47A-4F60-A179-68399FDC52BD}" type="pres">
      <dgm:prSet presAssocID="{8E00B3D9-7438-4416-B605-A6731831956F}" presName="hierChild4" presStyleCnt="0"/>
      <dgm:spPr/>
    </dgm:pt>
    <dgm:pt modelId="{A0997A57-BEB3-4A72-ADE4-EB65E96CE0E8}" type="pres">
      <dgm:prSet presAssocID="{D7B4AEC1-D097-4EC5-9CCC-09676C9B8C33}" presName="Name10" presStyleLbl="parChTrans1D2" presStyleIdx="1" presStyleCnt="2"/>
      <dgm:spPr/>
    </dgm:pt>
    <dgm:pt modelId="{5F565F61-11B0-4306-85E7-882161B83B53}" type="pres">
      <dgm:prSet presAssocID="{97643B9F-466E-496F-BD9B-9634E164FC1A}" presName="hierRoot2" presStyleCnt="0"/>
      <dgm:spPr/>
    </dgm:pt>
    <dgm:pt modelId="{1A3371EB-2649-4676-B359-3DC5DF25FC3C}" type="pres">
      <dgm:prSet presAssocID="{97643B9F-466E-496F-BD9B-9634E164FC1A}" presName="composite2" presStyleCnt="0"/>
      <dgm:spPr/>
    </dgm:pt>
    <dgm:pt modelId="{5BB384AC-1844-4761-952C-FB5B3D2854FC}" type="pres">
      <dgm:prSet presAssocID="{97643B9F-466E-496F-BD9B-9634E164FC1A}" presName="image2" presStyleLbl="node2" presStyleIdx="1" presStyleCnt="2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ose with solid fill"/>
        </a:ext>
      </dgm:extLst>
    </dgm:pt>
    <dgm:pt modelId="{DDAADD88-6CFD-48AF-A6B4-1F0FA87D7331}" type="pres">
      <dgm:prSet presAssocID="{97643B9F-466E-496F-BD9B-9634E164FC1A}" presName="text2" presStyleLbl="revTx" presStyleIdx="4" presStyleCnt="6">
        <dgm:presLayoutVars>
          <dgm:chPref val="3"/>
        </dgm:presLayoutVars>
      </dgm:prSet>
      <dgm:spPr/>
    </dgm:pt>
    <dgm:pt modelId="{766A39BB-6983-49D1-BBB3-25A087917063}" type="pres">
      <dgm:prSet presAssocID="{97643B9F-466E-496F-BD9B-9634E164FC1A}" presName="hierChild3" presStyleCnt="0"/>
      <dgm:spPr/>
    </dgm:pt>
    <dgm:pt modelId="{DDE5E588-A7FB-41B8-BC4D-73C12BADC8B6}" type="pres">
      <dgm:prSet presAssocID="{6186A53C-6D8F-4AED-90D9-8A228D640825}" presName="Name17" presStyleLbl="parChTrans1D3" presStyleIdx="2" presStyleCnt="3"/>
      <dgm:spPr/>
    </dgm:pt>
    <dgm:pt modelId="{2E5EA3BA-A703-4035-9512-54AD460F4FE2}" type="pres">
      <dgm:prSet presAssocID="{497AB8E9-01C9-4BC1-A436-3B42ADEBBA8D}" presName="hierRoot3" presStyleCnt="0"/>
      <dgm:spPr/>
    </dgm:pt>
    <dgm:pt modelId="{D39104D6-9A44-42FB-B125-14A5B4A7EB03}" type="pres">
      <dgm:prSet presAssocID="{497AB8E9-01C9-4BC1-A436-3B42ADEBBA8D}" presName="composite3" presStyleCnt="0"/>
      <dgm:spPr/>
    </dgm:pt>
    <dgm:pt modelId="{DA6DB704-8B19-4C1B-9DA7-2110D0673C46}" type="pres">
      <dgm:prSet presAssocID="{497AB8E9-01C9-4BC1-A436-3B42ADEBBA8D}" presName="image3" presStyleLbl="node3" presStyleIdx="2" presStyleCnt="3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 with solid fill"/>
        </a:ext>
      </dgm:extLst>
    </dgm:pt>
    <dgm:pt modelId="{89849198-524D-4405-BB51-62A270D3D57D}" type="pres">
      <dgm:prSet presAssocID="{497AB8E9-01C9-4BC1-A436-3B42ADEBBA8D}" presName="text3" presStyleLbl="revTx" presStyleIdx="5" presStyleCnt="6">
        <dgm:presLayoutVars>
          <dgm:chPref val="3"/>
        </dgm:presLayoutVars>
      </dgm:prSet>
      <dgm:spPr/>
    </dgm:pt>
    <dgm:pt modelId="{60B47227-6A71-4667-B7DD-D69E908BE6D3}" type="pres">
      <dgm:prSet presAssocID="{497AB8E9-01C9-4BC1-A436-3B42ADEBBA8D}" presName="hierChild4" presStyleCnt="0"/>
      <dgm:spPr/>
    </dgm:pt>
  </dgm:ptLst>
  <dgm:cxnLst>
    <dgm:cxn modelId="{C7316E18-6396-4458-B5E5-6FD42DB8F663}" type="presOf" srcId="{D7B4AEC1-D097-4EC5-9CCC-09676C9B8C33}" destId="{A0997A57-BEB3-4A72-ADE4-EB65E96CE0E8}" srcOrd="0" destOrd="0" presId="urn:microsoft.com/office/officeart/2009/layout/CirclePictureHierarchy"/>
    <dgm:cxn modelId="{3F1C2925-3A4B-44A0-BE9A-441D95E15D5C}" type="presOf" srcId="{6CC3D62B-CC52-4110-AD1C-A932A60243F4}" destId="{02715925-9C71-4F75-8C25-2DEC4F1EFB34}" srcOrd="0" destOrd="0" presId="urn:microsoft.com/office/officeart/2009/layout/CirclePictureHierarchy"/>
    <dgm:cxn modelId="{CA928C28-DC52-429C-A79E-F9A0EFB8C6E2}" type="presOf" srcId="{9DA88695-658A-4464-8CBF-7B2238377EE3}" destId="{C137704F-E2BD-488C-BD6C-01ECD6EA4795}" srcOrd="0" destOrd="0" presId="urn:microsoft.com/office/officeart/2009/layout/CirclePictureHierarchy"/>
    <dgm:cxn modelId="{35E99128-988B-476B-BB0A-B185E2777EB4}" srcId="{9DA88695-658A-4464-8CBF-7B2238377EE3}" destId="{97643B9F-466E-496F-BD9B-9634E164FC1A}" srcOrd="1" destOrd="0" parTransId="{D7B4AEC1-D097-4EC5-9CCC-09676C9B8C33}" sibTransId="{CB653BC3-261B-4AF6-B995-199EBC93F01C}"/>
    <dgm:cxn modelId="{2F8D1A5C-93F9-49AF-B7E4-B8C4BCA0A99D}" type="presOf" srcId="{F951A0BD-6477-45F0-A0C3-9D2062E54824}" destId="{242A5515-3D65-48CF-99E9-1F9B1F7AFE81}" srcOrd="0" destOrd="0" presId="urn:microsoft.com/office/officeart/2009/layout/CirclePictureHierarchy"/>
    <dgm:cxn modelId="{BA6D7046-41AD-4FA2-B20E-B9409BC664F9}" type="presOf" srcId="{97643B9F-466E-496F-BD9B-9634E164FC1A}" destId="{DDAADD88-6CFD-48AF-A6B4-1F0FA87D7331}" srcOrd="0" destOrd="0" presId="urn:microsoft.com/office/officeart/2009/layout/CirclePictureHierarchy"/>
    <dgm:cxn modelId="{FD6A014A-48E4-4390-BC09-70B79F7018A9}" type="presOf" srcId="{B7A6EC37-B0A8-4929-A93C-352EE9B75DEF}" destId="{B3379969-EDFE-4B50-A755-0A082A8392E0}" srcOrd="0" destOrd="0" presId="urn:microsoft.com/office/officeart/2009/layout/CirclePictureHierarchy"/>
    <dgm:cxn modelId="{E890FF6F-FB13-4832-9496-05B655A76874}" type="presOf" srcId="{6186A53C-6D8F-4AED-90D9-8A228D640825}" destId="{DDE5E588-A7FB-41B8-BC4D-73C12BADC8B6}" srcOrd="0" destOrd="0" presId="urn:microsoft.com/office/officeart/2009/layout/CirclePictureHierarchy"/>
    <dgm:cxn modelId="{519A0F78-8E01-433F-ADC1-747101EB2806}" type="presOf" srcId="{5E2322E7-8561-4B92-9E38-43DC4624BAF1}" destId="{F88B3CCF-B388-4F61-9E01-A68E98586F67}" srcOrd="0" destOrd="0" presId="urn:microsoft.com/office/officeart/2009/layout/CirclePictureHierarchy"/>
    <dgm:cxn modelId="{D9D3BE79-D6DE-47B9-96CF-126AC3B7EB59}" type="presOf" srcId="{70CBD56D-15FC-488E-9BB0-7153C98A44FD}" destId="{CAF7CE16-7C55-471F-B04A-29C067A1ED8E}" srcOrd="0" destOrd="0" presId="urn:microsoft.com/office/officeart/2009/layout/CirclePictureHierarchy"/>
    <dgm:cxn modelId="{56AB8584-14FE-4384-8023-998330515248}" srcId="{97643B9F-466E-496F-BD9B-9634E164FC1A}" destId="{497AB8E9-01C9-4BC1-A436-3B42ADEBBA8D}" srcOrd="0" destOrd="0" parTransId="{6186A53C-6D8F-4AED-90D9-8A228D640825}" sibTransId="{441E3650-8A5C-4999-A7E0-389E405C24A1}"/>
    <dgm:cxn modelId="{6EEABC8D-B820-4CB1-AF4D-6527DDED962A}" srcId="{70CBD56D-15FC-488E-9BB0-7153C98A44FD}" destId="{9DA88695-658A-4464-8CBF-7B2238377EE3}" srcOrd="0" destOrd="0" parTransId="{E0FD3DA9-1F37-453D-9B6B-D3F46A578C6A}" sibTransId="{C2594D75-9F36-4C9A-8CD8-C4DD677DCB33}"/>
    <dgm:cxn modelId="{2370B39D-3AF0-42C7-B4E0-467E70EC3F2A}" srcId="{F951A0BD-6477-45F0-A0C3-9D2062E54824}" destId="{8E00B3D9-7438-4416-B605-A6731831956F}" srcOrd="1" destOrd="0" parTransId="{ACEE7473-DFDF-47AC-8628-03E738EA80AF}" sibTransId="{4E919960-6A6F-4AA9-8627-B495D3C89882}"/>
    <dgm:cxn modelId="{2B6629C9-AB51-4E51-A746-BC712DF5EFA7}" type="presOf" srcId="{ACEE7473-DFDF-47AC-8628-03E738EA80AF}" destId="{72A59A19-3BC4-44C1-B2E3-115BC37C6AE4}" srcOrd="0" destOrd="0" presId="urn:microsoft.com/office/officeart/2009/layout/CirclePictureHierarchy"/>
    <dgm:cxn modelId="{E9744EDB-DA59-4638-8BE9-DE762AB364EF}" type="presOf" srcId="{8E00B3D9-7438-4416-B605-A6731831956F}" destId="{85332435-8F2B-4260-95A7-90B2362DB440}" srcOrd="0" destOrd="0" presId="urn:microsoft.com/office/officeart/2009/layout/CirclePictureHierarchy"/>
    <dgm:cxn modelId="{7E14CAEA-2C86-46FA-91E6-C3D7B7F24716}" srcId="{F951A0BD-6477-45F0-A0C3-9D2062E54824}" destId="{B7A6EC37-B0A8-4929-A93C-352EE9B75DEF}" srcOrd="0" destOrd="0" parTransId="{5E2322E7-8561-4B92-9E38-43DC4624BAF1}" sibTransId="{0C1F0E1E-C281-4A8F-97F8-E816E068E942}"/>
    <dgm:cxn modelId="{E67E31F4-69F7-4AF3-B294-298F08BD1324}" type="presOf" srcId="{497AB8E9-01C9-4BC1-A436-3B42ADEBBA8D}" destId="{89849198-524D-4405-BB51-62A270D3D57D}" srcOrd="0" destOrd="0" presId="urn:microsoft.com/office/officeart/2009/layout/CirclePictureHierarchy"/>
    <dgm:cxn modelId="{26F972F4-8860-4163-A2FB-A688E8F306B7}" srcId="{9DA88695-658A-4464-8CBF-7B2238377EE3}" destId="{F951A0BD-6477-45F0-A0C3-9D2062E54824}" srcOrd="0" destOrd="0" parTransId="{6CC3D62B-CC52-4110-AD1C-A932A60243F4}" sibTransId="{3703EB83-E135-479F-A9AC-3470FF05781A}"/>
    <dgm:cxn modelId="{CF59192F-095C-4191-A90D-3BA654F0BBEC}" type="presParOf" srcId="{CAF7CE16-7C55-471F-B04A-29C067A1ED8E}" destId="{FC956CAA-30BD-4BBB-B111-202EE30FFDF3}" srcOrd="0" destOrd="0" presId="urn:microsoft.com/office/officeart/2009/layout/CirclePictureHierarchy"/>
    <dgm:cxn modelId="{87B5AC33-BD79-4D23-AB7C-A027C1A3F1E1}" type="presParOf" srcId="{FC956CAA-30BD-4BBB-B111-202EE30FFDF3}" destId="{79A137D9-26DB-41CB-9FFA-65B7AADE75C4}" srcOrd="0" destOrd="0" presId="urn:microsoft.com/office/officeart/2009/layout/CirclePictureHierarchy"/>
    <dgm:cxn modelId="{07E35AAE-0153-4EF0-BBDC-1AA668305918}" type="presParOf" srcId="{79A137D9-26DB-41CB-9FFA-65B7AADE75C4}" destId="{9382D173-BBD8-468A-BFD6-2F412E15A3AA}" srcOrd="0" destOrd="0" presId="urn:microsoft.com/office/officeart/2009/layout/CirclePictureHierarchy"/>
    <dgm:cxn modelId="{FFCD063F-E636-4CFE-A982-6227756057F2}" type="presParOf" srcId="{79A137D9-26DB-41CB-9FFA-65B7AADE75C4}" destId="{C137704F-E2BD-488C-BD6C-01ECD6EA4795}" srcOrd="1" destOrd="0" presId="urn:microsoft.com/office/officeart/2009/layout/CirclePictureHierarchy"/>
    <dgm:cxn modelId="{CFE650F9-F2D8-4195-9AD2-C1BFAF1F4F38}" type="presParOf" srcId="{FC956CAA-30BD-4BBB-B111-202EE30FFDF3}" destId="{A572DCDE-606B-4849-9126-4DEE0F9C968C}" srcOrd="1" destOrd="0" presId="urn:microsoft.com/office/officeart/2009/layout/CirclePictureHierarchy"/>
    <dgm:cxn modelId="{B82AE747-5678-4856-A1F7-561E4453FC61}" type="presParOf" srcId="{A572DCDE-606B-4849-9126-4DEE0F9C968C}" destId="{02715925-9C71-4F75-8C25-2DEC4F1EFB34}" srcOrd="0" destOrd="0" presId="urn:microsoft.com/office/officeart/2009/layout/CirclePictureHierarchy"/>
    <dgm:cxn modelId="{8DEF0AAE-4447-418A-A58F-9D8942627BF1}" type="presParOf" srcId="{A572DCDE-606B-4849-9126-4DEE0F9C968C}" destId="{BAF11527-51C4-457D-8EBA-410BAA8E9906}" srcOrd="1" destOrd="0" presId="urn:microsoft.com/office/officeart/2009/layout/CirclePictureHierarchy"/>
    <dgm:cxn modelId="{96191F28-6D7F-4E08-A9E1-4AA3DC8A9BA6}" type="presParOf" srcId="{BAF11527-51C4-457D-8EBA-410BAA8E9906}" destId="{60572029-0AB9-4A1A-99D8-08A895A8569C}" srcOrd="0" destOrd="0" presId="urn:microsoft.com/office/officeart/2009/layout/CirclePictureHierarchy"/>
    <dgm:cxn modelId="{69676C80-ECE7-4D67-B4FD-608384CC3CFF}" type="presParOf" srcId="{60572029-0AB9-4A1A-99D8-08A895A8569C}" destId="{2985AD6C-B8E7-47EF-8A4B-2D1492695B74}" srcOrd="0" destOrd="0" presId="urn:microsoft.com/office/officeart/2009/layout/CirclePictureHierarchy"/>
    <dgm:cxn modelId="{6610C271-EA97-4BBE-93B5-15168A9E0301}" type="presParOf" srcId="{60572029-0AB9-4A1A-99D8-08A895A8569C}" destId="{242A5515-3D65-48CF-99E9-1F9B1F7AFE81}" srcOrd="1" destOrd="0" presId="urn:microsoft.com/office/officeart/2009/layout/CirclePictureHierarchy"/>
    <dgm:cxn modelId="{5BB356BE-661E-457C-9D26-347BB8106E3E}" type="presParOf" srcId="{BAF11527-51C4-457D-8EBA-410BAA8E9906}" destId="{B651A5CD-74CF-4964-BF38-B067F0512214}" srcOrd="1" destOrd="0" presId="urn:microsoft.com/office/officeart/2009/layout/CirclePictureHierarchy"/>
    <dgm:cxn modelId="{C847DA3C-2563-4DB9-B692-782FC8F5F818}" type="presParOf" srcId="{B651A5CD-74CF-4964-BF38-B067F0512214}" destId="{F88B3CCF-B388-4F61-9E01-A68E98586F67}" srcOrd="0" destOrd="0" presId="urn:microsoft.com/office/officeart/2009/layout/CirclePictureHierarchy"/>
    <dgm:cxn modelId="{901017CD-4B20-4CDD-A05E-A30C71AE4FBF}" type="presParOf" srcId="{B651A5CD-74CF-4964-BF38-B067F0512214}" destId="{23A984AB-60C0-4F51-9845-B1546934DA4F}" srcOrd="1" destOrd="0" presId="urn:microsoft.com/office/officeart/2009/layout/CirclePictureHierarchy"/>
    <dgm:cxn modelId="{BB48E468-1C39-47F2-AF56-3D1931BEE2DD}" type="presParOf" srcId="{23A984AB-60C0-4F51-9845-B1546934DA4F}" destId="{6AC1D22A-72FF-41D8-B6AC-276A1476E342}" srcOrd="0" destOrd="0" presId="urn:microsoft.com/office/officeart/2009/layout/CirclePictureHierarchy"/>
    <dgm:cxn modelId="{32EC2BC7-9428-4743-838D-8E27215DDDB4}" type="presParOf" srcId="{6AC1D22A-72FF-41D8-B6AC-276A1476E342}" destId="{B0687140-AE12-4B89-A5EA-7B6A47FD2A95}" srcOrd="0" destOrd="0" presId="urn:microsoft.com/office/officeart/2009/layout/CirclePictureHierarchy"/>
    <dgm:cxn modelId="{A76467F2-0F2C-4794-988F-4BA05EECFFD1}" type="presParOf" srcId="{6AC1D22A-72FF-41D8-B6AC-276A1476E342}" destId="{B3379969-EDFE-4B50-A755-0A082A8392E0}" srcOrd="1" destOrd="0" presId="urn:microsoft.com/office/officeart/2009/layout/CirclePictureHierarchy"/>
    <dgm:cxn modelId="{BBBE5A26-F0D6-4011-989F-8C92A97E5789}" type="presParOf" srcId="{23A984AB-60C0-4F51-9845-B1546934DA4F}" destId="{276AEDA7-A395-4D72-9F33-95CAA230BC94}" srcOrd="1" destOrd="0" presId="urn:microsoft.com/office/officeart/2009/layout/CirclePictureHierarchy"/>
    <dgm:cxn modelId="{23F0D575-4E73-4292-AA06-BEB488B3288A}" type="presParOf" srcId="{B651A5CD-74CF-4964-BF38-B067F0512214}" destId="{72A59A19-3BC4-44C1-B2E3-115BC37C6AE4}" srcOrd="2" destOrd="0" presId="urn:microsoft.com/office/officeart/2009/layout/CirclePictureHierarchy"/>
    <dgm:cxn modelId="{C9AB23D1-F815-46E0-A212-B519A1E2D6D2}" type="presParOf" srcId="{B651A5CD-74CF-4964-BF38-B067F0512214}" destId="{85986EBA-6CE9-48E0-B8F6-041C3D616484}" srcOrd="3" destOrd="0" presId="urn:microsoft.com/office/officeart/2009/layout/CirclePictureHierarchy"/>
    <dgm:cxn modelId="{36128340-D059-4E5C-B0A3-E305AFCF9AE9}" type="presParOf" srcId="{85986EBA-6CE9-48E0-B8F6-041C3D616484}" destId="{4F1E8447-A514-4C39-9C32-C4FFD4E48CB0}" srcOrd="0" destOrd="0" presId="urn:microsoft.com/office/officeart/2009/layout/CirclePictureHierarchy"/>
    <dgm:cxn modelId="{B2520628-533B-46F7-80B1-56C31DF5ED34}" type="presParOf" srcId="{4F1E8447-A514-4C39-9C32-C4FFD4E48CB0}" destId="{E4D31C95-6140-4F3B-BA05-7081C03CBC56}" srcOrd="0" destOrd="0" presId="urn:microsoft.com/office/officeart/2009/layout/CirclePictureHierarchy"/>
    <dgm:cxn modelId="{A689E3A2-DC51-4353-834B-BCA085EB977E}" type="presParOf" srcId="{4F1E8447-A514-4C39-9C32-C4FFD4E48CB0}" destId="{85332435-8F2B-4260-95A7-90B2362DB440}" srcOrd="1" destOrd="0" presId="urn:microsoft.com/office/officeart/2009/layout/CirclePictureHierarchy"/>
    <dgm:cxn modelId="{66C3F020-8E37-47F9-8CB1-9DCC1091EB19}" type="presParOf" srcId="{85986EBA-6CE9-48E0-B8F6-041C3D616484}" destId="{0BDC3C0B-A47A-4F60-A179-68399FDC52BD}" srcOrd="1" destOrd="0" presId="urn:microsoft.com/office/officeart/2009/layout/CirclePictureHierarchy"/>
    <dgm:cxn modelId="{9C1915FD-C7EB-4390-ADA7-8E0B78C2B230}" type="presParOf" srcId="{A572DCDE-606B-4849-9126-4DEE0F9C968C}" destId="{A0997A57-BEB3-4A72-ADE4-EB65E96CE0E8}" srcOrd="2" destOrd="0" presId="urn:microsoft.com/office/officeart/2009/layout/CirclePictureHierarchy"/>
    <dgm:cxn modelId="{A926A7E5-E041-4C92-9B73-1D190FD06806}" type="presParOf" srcId="{A572DCDE-606B-4849-9126-4DEE0F9C968C}" destId="{5F565F61-11B0-4306-85E7-882161B83B53}" srcOrd="3" destOrd="0" presId="urn:microsoft.com/office/officeart/2009/layout/CirclePictureHierarchy"/>
    <dgm:cxn modelId="{A6BC43F3-386F-41AB-82B7-3520435C8C76}" type="presParOf" srcId="{5F565F61-11B0-4306-85E7-882161B83B53}" destId="{1A3371EB-2649-4676-B359-3DC5DF25FC3C}" srcOrd="0" destOrd="0" presId="urn:microsoft.com/office/officeart/2009/layout/CirclePictureHierarchy"/>
    <dgm:cxn modelId="{F3973741-9F3A-48C4-8715-7F879280B96E}" type="presParOf" srcId="{1A3371EB-2649-4676-B359-3DC5DF25FC3C}" destId="{5BB384AC-1844-4761-952C-FB5B3D2854FC}" srcOrd="0" destOrd="0" presId="urn:microsoft.com/office/officeart/2009/layout/CirclePictureHierarchy"/>
    <dgm:cxn modelId="{9D92F688-73D1-4569-942E-C4D8D4313948}" type="presParOf" srcId="{1A3371EB-2649-4676-B359-3DC5DF25FC3C}" destId="{DDAADD88-6CFD-48AF-A6B4-1F0FA87D7331}" srcOrd="1" destOrd="0" presId="urn:microsoft.com/office/officeart/2009/layout/CirclePictureHierarchy"/>
    <dgm:cxn modelId="{5659C6A2-8C19-4486-B063-3D959D589461}" type="presParOf" srcId="{5F565F61-11B0-4306-85E7-882161B83B53}" destId="{766A39BB-6983-49D1-BBB3-25A087917063}" srcOrd="1" destOrd="0" presId="urn:microsoft.com/office/officeart/2009/layout/CirclePictureHierarchy"/>
    <dgm:cxn modelId="{06917165-454B-4A17-B5B7-D89863F23FFF}" type="presParOf" srcId="{766A39BB-6983-49D1-BBB3-25A087917063}" destId="{DDE5E588-A7FB-41B8-BC4D-73C12BADC8B6}" srcOrd="0" destOrd="0" presId="urn:microsoft.com/office/officeart/2009/layout/CirclePictureHierarchy"/>
    <dgm:cxn modelId="{F9B25374-B263-4D48-8BD8-50A0E798FAD6}" type="presParOf" srcId="{766A39BB-6983-49D1-BBB3-25A087917063}" destId="{2E5EA3BA-A703-4035-9512-54AD460F4FE2}" srcOrd="1" destOrd="0" presId="urn:microsoft.com/office/officeart/2009/layout/CirclePictureHierarchy"/>
    <dgm:cxn modelId="{6CD3FBF4-B344-4B54-9E3F-B03F215DD66C}" type="presParOf" srcId="{2E5EA3BA-A703-4035-9512-54AD460F4FE2}" destId="{D39104D6-9A44-42FB-B125-14A5B4A7EB03}" srcOrd="0" destOrd="0" presId="urn:microsoft.com/office/officeart/2009/layout/CirclePictureHierarchy"/>
    <dgm:cxn modelId="{A7FD1105-0AF2-47F7-8146-4876AC3A8D85}" type="presParOf" srcId="{D39104D6-9A44-42FB-B125-14A5B4A7EB03}" destId="{DA6DB704-8B19-4C1B-9DA7-2110D0673C46}" srcOrd="0" destOrd="0" presId="urn:microsoft.com/office/officeart/2009/layout/CirclePictureHierarchy"/>
    <dgm:cxn modelId="{158030C3-7B14-460E-93FB-25A5D27D7A09}" type="presParOf" srcId="{D39104D6-9A44-42FB-B125-14A5B4A7EB03}" destId="{89849198-524D-4405-BB51-62A270D3D57D}" srcOrd="1" destOrd="0" presId="urn:microsoft.com/office/officeart/2009/layout/CirclePictureHierarchy"/>
    <dgm:cxn modelId="{A9E54CD2-ACD0-40DC-9FC1-002366A739F9}" type="presParOf" srcId="{2E5EA3BA-A703-4035-9512-54AD460F4FE2}" destId="{60B47227-6A71-4667-B7DD-D69E908BE6D3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E5E588-A7FB-41B8-BC4D-73C12BADC8B6}">
      <dsp:nvSpPr>
        <dsp:cNvPr id="0" name=""/>
        <dsp:cNvSpPr/>
      </dsp:nvSpPr>
      <dsp:spPr>
        <a:xfrm>
          <a:off x="6579197" y="3262790"/>
          <a:ext cx="91440" cy="3478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97A57-BEB3-4A72-ADE4-EB65E96CE0E8}">
      <dsp:nvSpPr>
        <dsp:cNvPr id="0" name=""/>
        <dsp:cNvSpPr/>
      </dsp:nvSpPr>
      <dsp:spPr>
        <a:xfrm>
          <a:off x="4347601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2277315" y="175284"/>
              </a:lnTo>
              <a:lnTo>
                <a:pt x="2277315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A59A19-3BC4-44C1-B2E3-115BC37C6AE4}">
      <dsp:nvSpPr>
        <dsp:cNvPr id="0" name=""/>
        <dsp:cNvSpPr/>
      </dsp:nvSpPr>
      <dsp:spPr>
        <a:xfrm>
          <a:off x="207028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1518210" y="175284"/>
              </a:lnTo>
              <a:lnTo>
                <a:pt x="151821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8B3CCF-B388-4F61-9E01-A68E98586F67}">
      <dsp:nvSpPr>
        <dsp:cNvPr id="0" name=""/>
        <dsp:cNvSpPr/>
      </dsp:nvSpPr>
      <dsp:spPr>
        <a:xfrm>
          <a:off x="55207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1518210" y="0"/>
              </a:moveTo>
              <a:lnTo>
                <a:pt x="1518210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15925-9C71-4F75-8C25-2DEC4F1EFB34}">
      <dsp:nvSpPr>
        <dsp:cNvPr id="0" name=""/>
        <dsp:cNvSpPr/>
      </dsp:nvSpPr>
      <dsp:spPr>
        <a:xfrm>
          <a:off x="2070286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2277315" y="0"/>
              </a:moveTo>
              <a:lnTo>
                <a:pt x="2277315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82D173-BBD8-468A-BFD6-2F412E15A3AA}">
      <dsp:nvSpPr>
        <dsp:cNvPr id="0" name=""/>
        <dsp:cNvSpPr/>
      </dsp:nvSpPr>
      <dsp:spPr>
        <a:xfrm>
          <a:off x="3795525" y="706676"/>
          <a:ext cx="1104152" cy="110415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7704F-E2BD-488C-BD6C-01ECD6EA4795}">
      <dsp:nvSpPr>
        <dsp:cNvPr id="0" name=""/>
        <dsp:cNvSpPr/>
      </dsp:nvSpPr>
      <dsp:spPr>
        <a:xfrm>
          <a:off x="4899678" y="703915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Job loss</a:t>
          </a:r>
          <a:endParaRPr lang="en-AU" sz="2400" kern="1200"/>
        </a:p>
      </dsp:txBody>
      <dsp:txXfrm>
        <a:off x="4899678" y="703915"/>
        <a:ext cx="1656229" cy="1104152"/>
      </dsp:txXfrm>
    </dsp:sp>
    <dsp:sp modelId="{2985AD6C-B8E7-47EF-8A4B-2D1492695B74}">
      <dsp:nvSpPr>
        <dsp:cNvPr id="0" name=""/>
        <dsp:cNvSpPr/>
      </dsp:nvSpPr>
      <dsp:spPr>
        <a:xfrm>
          <a:off x="151821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2A5515-3D65-48CF-99E9-1F9B1F7AFE81}">
      <dsp:nvSpPr>
        <dsp:cNvPr id="0" name=""/>
        <dsp:cNvSpPr/>
      </dsp:nvSpPr>
      <dsp:spPr>
        <a:xfrm>
          <a:off x="262236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Benefit application</a:t>
          </a:r>
          <a:endParaRPr lang="en-AU" sz="2400" kern="1200"/>
        </a:p>
      </dsp:txBody>
      <dsp:txXfrm>
        <a:off x="2622363" y="2155876"/>
        <a:ext cx="1656229" cy="1104152"/>
      </dsp:txXfrm>
    </dsp:sp>
    <dsp:sp modelId="{B0687140-AE12-4B89-A5EA-7B6A47FD2A95}">
      <dsp:nvSpPr>
        <dsp:cNvPr id="0" name=""/>
        <dsp:cNvSpPr/>
      </dsp:nvSpPr>
      <dsp:spPr>
        <a:xfrm>
          <a:off x="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79969-EDFE-4B50-A755-0A082A8392E0}">
      <dsp:nvSpPr>
        <dsp:cNvPr id="0" name=""/>
        <dsp:cNvSpPr/>
      </dsp:nvSpPr>
      <dsp:spPr>
        <a:xfrm>
          <a:off x="1104152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pproval</a:t>
          </a:r>
          <a:endParaRPr lang="en-AU" sz="2400" kern="1200"/>
        </a:p>
      </dsp:txBody>
      <dsp:txXfrm>
        <a:off x="1104152" y="3607837"/>
        <a:ext cx="1656229" cy="1104152"/>
      </dsp:txXfrm>
    </dsp:sp>
    <dsp:sp modelId="{E4D31C95-6140-4F3B-BA05-7081C03CBC56}">
      <dsp:nvSpPr>
        <dsp:cNvPr id="0" name=""/>
        <dsp:cNvSpPr/>
      </dsp:nvSpPr>
      <dsp:spPr>
        <a:xfrm>
          <a:off x="303642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332435-8F2B-4260-95A7-90B2362DB440}">
      <dsp:nvSpPr>
        <dsp:cNvPr id="0" name=""/>
        <dsp:cNvSpPr/>
      </dsp:nvSpPr>
      <dsp:spPr>
        <a:xfrm>
          <a:off x="414057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4140573" y="3607837"/>
        <a:ext cx="1656229" cy="1104152"/>
      </dsp:txXfrm>
    </dsp:sp>
    <dsp:sp modelId="{5BB384AC-1844-4761-952C-FB5B3D2854FC}">
      <dsp:nvSpPr>
        <dsp:cNvPr id="0" name=""/>
        <dsp:cNvSpPr/>
      </dsp:nvSpPr>
      <dsp:spPr>
        <a:xfrm>
          <a:off x="607284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AADD88-6CFD-48AF-A6B4-1F0FA87D7331}">
      <dsp:nvSpPr>
        <dsp:cNvPr id="0" name=""/>
        <dsp:cNvSpPr/>
      </dsp:nvSpPr>
      <dsp:spPr>
        <a:xfrm>
          <a:off x="717699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 application</a:t>
          </a:r>
          <a:endParaRPr lang="en-AU" sz="2400" kern="1200"/>
        </a:p>
      </dsp:txBody>
      <dsp:txXfrm>
        <a:off x="7176993" y="2155876"/>
        <a:ext cx="1656229" cy="1104152"/>
      </dsp:txXfrm>
    </dsp:sp>
    <dsp:sp modelId="{DA6DB704-8B19-4C1B-9DA7-2110D0673C46}">
      <dsp:nvSpPr>
        <dsp:cNvPr id="0" name=""/>
        <dsp:cNvSpPr/>
      </dsp:nvSpPr>
      <dsp:spPr>
        <a:xfrm>
          <a:off x="607284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849198-524D-4405-BB51-62A270D3D57D}">
      <dsp:nvSpPr>
        <dsp:cNvPr id="0" name=""/>
        <dsp:cNvSpPr/>
      </dsp:nvSpPr>
      <dsp:spPr>
        <a:xfrm>
          <a:off x="717699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7176993" y="3607837"/>
        <a:ext cx="1656229" cy="11041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77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55279-AA43-3D2C-43F7-C5FDBF875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18A083-BE1A-71E3-1349-7135449379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BA0C0E-3328-9C95-AE57-2DA5F6C588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11820-8F2D-9D8D-C631-ABCD3B2527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463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602CD0-6281-C6E0-158D-E9CA874A9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929D36-225A-ED14-C11D-A8EC97EE6D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1BD88-932B-6293-7283-6E3497EF0C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84F7F-53AE-7104-1E5E-5D2C5D9A4B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162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30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2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2.xml"/><Relationship Id="rId2" Type="http://schemas.openxmlformats.org/officeDocument/2006/relationships/hyperlink" Target="https://www.blueprintinstitute.org.au/jobmatcher_real_unemployment_insurance" TargetMode="External"/><Relationship Id="rId1" Type="http://schemas.openxmlformats.org/officeDocument/2006/relationships/slideLayout" Target="../slideLayouts/slideLayout22.xml"/><Relationship Id="rId4" Type="http://schemas.openxmlformats.org/officeDocument/2006/relationships/slide" Target="slide3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4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4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4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33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031835"/>
            <a:ext cx="4698834" cy="797782"/>
          </a:xfrm>
        </p:spPr>
        <p:txBody>
          <a:bodyPr/>
          <a:lstStyle/>
          <a:p>
            <a:r>
              <a:rPr lang="en-US" dirty="0">
                <a:latin typeface="Graphik"/>
              </a:rPr>
              <a:t>Effectiveness of benefit targe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417" y="5054687"/>
            <a:ext cx="4698834" cy="615553"/>
          </a:xfrm>
        </p:spPr>
        <p:txBody>
          <a:bodyPr/>
          <a:lstStyle/>
          <a:p>
            <a:r>
              <a:rPr lang="en-US" dirty="0"/>
              <a:t>Korea-Australia Tax Symposium </a:t>
            </a:r>
            <a:br>
              <a:rPr lang="en-US" dirty="0"/>
            </a:br>
            <a:r>
              <a:rPr lang="en-US" dirty="0"/>
              <a:t>– Nov-2024</a:t>
            </a:r>
          </a:p>
        </p:txBody>
      </p:sp>
      <p:pic>
        <p:nvPicPr>
          <p:cNvPr id="8" name="Picture Placeholder 7" descr="A person sitting at a table with papers and a calculator&#10;&#10;Description automatically generated">
            <a:extLst>
              <a:ext uri="{FF2B5EF4-FFF2-40B4-BE49-F238E27FC236}">
                <a16:creationId xmlns:a16="http://schemas.microsoft.com/office/drawing/2014/main" id="{73DCDE7B-C32F-A88B-3AA3-8CC3E8CB9A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" b="459"/>
          <a:stretch>
            <a:fillRect/>
          </a:stretch>
        </p:blipFill>
        <p:spPr/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B0E6651-2B0B-3355-6B3E-6C72AE7EF88B}"/>
              </a:ext>
            </a:extLst>
          </p:cNvPr>
          <p:cNvSpPr txBox="1">
            <a:spLocks/>
          </p:cNvSpPr>
          <p:nvPr/>
        </p:nvSpPr>
        <p:spPr>
          <a:xfrm>
            <a:off x="7207417" y="5895310"/>
            <a:ext cx="469883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20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57206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914411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371617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828823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/>
              <a:t>Pelin Akyol, Erin Clarke, Gianni La Cava, and Matt Nolan</a:t>
            </a:r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032FE-CF0D-F766-D42B-397FFC722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3A61E0-448B-D5B1-61EA-A68AF1E39E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6E6ABE-EB05-8D67-FED7-0C8E21424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755246-F57A-9173-2ED1-0B8DD671EA4A}"/>
              </a:ext>
            </a:extLst>
          </p:cNvPr>
          <p:cNvSpPr txBox="1"/>
          <p:nvPr/>
        </p:nvSpPr>
        <p:spPr>
          <a:xfrm flipH="1">
            <a:off x="598813" y="240874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nterpretation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19316F-6EA8-A52F-02F7-2A74F09BEB88}"/>
              </a:ext>
            </a:extLst>
          </p:cNvPr>
          <p:cNvSpPr txBox="1"/>
          <p:nvPr/>
        </p:nvSpPr>
        <p:spPr>
          <a:xfrm flipH="1">
            <a:off x="751419" y="2781158"/>
            <a:ext cx="999879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 job loss an exogenous event. </a:t>
            </a:r>
            <a:r>
              <a:rPr lang="en-US" b="1" dirty="0"/>
              <a:t>No</a:t>
            </a:r>
            <a:r>
              <a:rPr lang="en-US" dirty="0"/>
              <a:t>. This is not a causal estimate of the consumption decline from job loss. [Note: Involuntary job loss does lead to larger expenditure declines]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does not tell us how consumption would change if the benefit rate changed (i.e. Gruber 1997)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does tell us that, given the current benefit structure, individuals who transition into job loss reduce their </a:t>
            </a:r>
            <a:r>
              <a:rPr lang="en-US" b="1" dirty="0"/>
              <a:t>expenditure</a:t>
            </a:r>
            <a:r>
              <a:rPr lang="en-US" dirty="0"/>
              <a:t> by this amount – on aver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urpose</a:t>
            </a:r>
            <a:r>
              <a:rPr lang="en-US" dirty="0"/>
              <a:t>: If there was uninsurance we would expect to see a large </a:t>
            </a:r>
            <a:r>
              <a:rPr lang="en-US" b="1" dirty="0"/>
              <a:t>consumption</a:t>
            </a:r>
            <a:r>
              <a:rPr lang="en-US" dirty="0"/>
              <a:t> drop around job lo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benefit recipients this speaks to how much they are insured included the benefit paym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non-recipients this speaks to the role of targeting.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EDE7B55-EC70-2A20-BB60-C14A1015BA0F}"/>
              </a:ext>
            </a:extLst>
          </p:cNvPr>
          <p:cNvSpPr txBox="1"/>
          <p:nvPr/>
        </p:nvSpPr>
        <p:spPr>
          <a:xfrm flipH="1">
            <a:off x="598813" y="103549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0A61025-AF1D-1C8A-8F27-71FF2A879376}"/>
                  </a:ext>
                </a:extLst>
              </p:cNvPr>
              <p:cNvSpPr txBox="1"/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1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5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0A61025-AF1D-1C8A-8F27-71FF2A8793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914254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818789"/>
              </p:ext>
            </p:extLst>
          </p:nvPr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5266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nditure Scar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110678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cars controlling for personal characteristics and income. Additionally controlling for subjective job loss risk.</a:t>
            </a:r>
            <a:endParaRPr lang="en-NZ" i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1AE7717-0778-6DEF-AAE3-F2308F7C36F1}"/>
              </a:ext>
            </a:extLst>
          </p:cNvPr>
          <p:cNvSpPr txBox="1"/>
          <p:nvPr/>
        </p:nvSpPr>
        <p:spPr>
          <a:xfrm>
            <a:off x="401573" y="6031674"/>
            <a:ext cx="943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Future job-loss risk only explains a small amount of the decline in consumption.</a:t>
            </a:r>
            <a:endParaRPr lang="en-NZ" b="1"/>
          </a:p>
        </p:txBody>
      </p:sp>
      <p:pic>
        <p:nvPicPr>
          <p:cNvPr id="5" name="Picture 4" descr="A graph of a graph with numbers and lines&#10;&#10;Description automatically generated">
            <a:extLst>
              <a:ext uri="{FF2B5EF4-FFF2-40B4-BE49-F238E27FC236}">
                <a16:creationId xmlns:a16="http://schemas.microsoft.com/office/drawing/2014/main" id="{DA4B85BE-069E-05D0-2302-A756A2BB9C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86" y="1840218"/>
            <a:ext cx="4939422" cy="3796971"/>
          </a:xfrm>
          <a:prstGeom prst="rect">
            <a:avLst/>
          </a:prstGeom>
        </p:spPr>
      </p:pic>
      <p:pic>
        <p:nvPicPr>
          <p:cNvPr id="7" name="Picture 6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4104F4A8-7293-6BFD-C880-A64CB9F7BC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40218"/>
            <a:ext cx="5168100" cy="3796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169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AB3170-C976-B449-FF96-84F49E63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B25034-6B57-4827-BE35-2CF90AA731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C54B01-8DE0-FC05-43D9-479B99B79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ype of unemployment scar</a:t>
            </a:r>
            <a:endParaRPr lang="en-NZ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6EB7AE-B98D-353B-E4E0-20522F4A6DA3}"/>
              </a:ext>
            </a:extLst>
          </p:cNvPr>
          <p:cNvSpPr txBox="1"/>
          <p:nvPr/>
        </p:nvSpPr>
        <p:spPr>
          <a:xfrm>
            <a:off x="1723943" y="140123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Involuntary job loss</a:t>
            </a:r>
            <a:endParaRPr lang="en-NZ" b="1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8919C8-A1E4-8030-46F0-146A718266E1}"/>
              </a:ext>
            </a:extLst>
          </p:cNvPr>
          <p:cNvSpPr txBox="1"/>
          <p:nvPr/>
        </p:nvSpPr>
        <p:spPr>
          <a:xfrm>
            <a:off x="7962245" y="1423682"/>
            <a:ext cx="2268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Voluntary job loss</a:t>
            </a:r>
            <a:endParaRPr lang="en-NZ" b="1">
              <a:solidFill>
                <a:srgbClr val="206166"/>
              </a:solidFill>
            </a:endParaRPr>
          </a:p>
        </p:txBody>
      </p:sp>
      <p:pic>
        <p:nvPicPr>
          <p:cNvPr id="6" name="Picture 5" descr="A graph of a graph with a line graph and text&#10;&#10;Description automatically generated">
            <a:extLst>
              <a:ext uri="{FF2B5EF4-FFF2-40B4-BE49-F238E27FC236}">
                <a16:creationId xmlns:a16="http://schemas.microsoft.com/office/drawing/2014/main" id="{56A3EA09-23F8-6026-0F20-89C552AB43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29" y="2199987"/>
            <a:ext cx="4905301" cy="3770742"/>
          </a:xfrm>
          <a:prstGeom prst="rect">
            <a:avLst/>
          </a:prstGeom>
        </p:spPr>
      </p:pic>
      <p:pic>
        <p:nvPicPr>
          <p:cNvPr id="8" name="Picture 7" descr="A graph of a graph showing a graph of a job loss&#10;&#10;Description automatically generated with medium confidence">
            <a:extLst>
              <a:ext uri="{FF2B5EF4-FFF2-40B4-BE49-F238E27FC236}">
                <a16:creationId xmlns:a16="http://schemas.microsoft.com/office/drawing/2014/main" id="{4AE08E8B-30D3-CFEA-035B-AFE29FE908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172" y="2199986"/>
            <a:ext cx="4905299" cy="377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849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eneficiary consumption scarring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90609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399" y="305114"/>
            <a:ext cx="11459365" cy="700597"/>
          </a:xfrm>
        </p:spPr>
        <p:txBody>
          <a:bodyPr/>
          <a:lstStyle/>
          <a:p>
            <a:r>
              <a:rPr lang="en-US"/>
              <a:t>Individuals, government, determine whether you receive income support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6033CB-A77E-D6A9-BA83-A82F4E640310}"/>
              </a:ext>
            </a:extLst>
          </p:cNvPr>
          <p:cNvSpPr txBox="1"/>
          <p:nvPr/>
        </p:nvSpPr>
        <p:spPr>
          <a:xfrm>
            <a:off x="370417" y="6093113"/>
            <a:ext cx="11606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ur intention is to describe the </a:t>
            </a:r>
            <a:r>
              <a:rPr lang="en-US" i="1" dirty="0"/>
              <a:t>selection </a:t>
            </a:r>
            <a:r>
              <a:rPr lang="en-US" dirty="0"/>
              <a:t>involved in being approved or not approved (</a:t>
            </a:r>
            <a:r>
              <a:rPr lang="en-US" b="1" dirty="0"/>
              <a:t>not a causal estimate</a:t>
            </a:r>
            <a:r>
              <a:rPr lang="en-US" dirty="0"/>
              <a:t>).</a:t>
            </a:r>
            <a:endParaRPr lang="en-NZ" i="1" dirty="0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B8DB12DC-DD46-094B-37B9-BCDC077D7B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663506"/>
              </p:ext>
            </p:extLst>
          </p:nvPr>
        </p:nvGraphicFramePr>
        <p:xfrm>
          <a:off x="3074378" y="547697"/>
          <a:ext cx="883322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Graphic 14" descr="Woman raising finger">
            <a:extLst>
              <a:ext uri="{FF2B5EF4-FFF2-40B4-BE49-F238E27FC236}">
                <a16:creationId xmlns:a16="http://schemas.microsoft.com/office/drawing/2014/main" id="{1005C6F1-3007-A478-76AB-7A37458B32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2114" y="1496774"/>
            <a:ext cx="21145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05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 typ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70417" y="1272957"/>
            <a:ext cx="7917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uld we expect benefit recipients to see a smaller or larger scar?</a:t>
            </a:r>
            <a:endParaRPr lang="en-NZ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DCCE499-42D5-4CC0-E45C-FA0457D6521B}"/>
              </a:ext>
            </a:extLst>
          </p:cNvPr>
          <p:cNvSpPr txBox="1"/>
          <p:nvPr/>
        </p:nvSpPr>
        <p:spPr>
          <a:xfrm flipH="1">
            <a:off x="7223937" y="1956217"/>
            <a:ext cx="3883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bject of Clarke et al (2023)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A390EE-C56A-7195-8785-4325F854614B}"/>
              </a:ext>
            </a:extLst>
          </p:cNvPr>
          <p:cNvSpPr txBox="1"/>
          <p:nvPr/>
        </p:nvSpPr>
        <p:spPr>
          <a:xfrm>
            <a:off x="6400780" y="3568694"/>
            <a:ext cx="530482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uch larger decline in consumption for those who receive income sup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payment?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coverag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eterogene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C5E7F4-7E16-9A41-4A1D-4B43F50561BF}"/>
              </a:ext>
            </a:extLst>
          </p:cNvPr>
          <p:cNvSpPr txBox="1"/>
          <p:nvPr/>
        </p:nvSpPr>
        <p:spPr>
          <a:xfrm flipH="1">
            <a:off x="370417" y="1719646"/>
            <a:ext cx="6061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Receiving the payment reduces the liquidity constraint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8311B2-BE7F-098F-74E3-D7E825EF843F}"/>
              </a:ext>
            </a:extLst>
          </p:cNvPr>
          <p:cNvSpPr txBox="1"/>
          <p:nvPr/>
        </p:nvSpPr>
        <p:spPr>
          <a:xfrm flipH="1">
            <a:off x="370417" y="2140883"/>
            <a:ext cx="6061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Eligibility and take-up correlated with liquidity constraints (selection).</a:t>
            </a:r>
          </a:p>
        </p:txBody>
      </p:sp>
      <p:pic>
        <p:nvPicPr>
          <p:cNvPr id="5" name="Picture 4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205A739A-E19E-B20D-7F10-070BC617DA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602" y="2968726"/>
            <a:ext cx="4860059" cy="3570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8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41C059-C452-D6D6-CF25-65FEB08FF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7E26EF-1CD9-4F7E-181B-54667771A8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C01D447-EBCD-B7F4-0D55-2BE05C0E2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 type: Partnership statu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29993-7279-1E20-1C17-94402BEC1BAB}"/>
              </a:ext>
            </a:extLst>
          </p:cNvPr>
          <p:cNvSpPr txBox="1"/>
          <p:nvPr/>
        </p:nvSpPr>
        <p:spPr>
          <a:xfrm>
            <a:off x="370417" y="1272957"/>
            <a:ext cx="9530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ntire difference due to individuals who are partnered who take-up the payment</a:t>
            </a:r>
            <a:endParaRPr lang="en-NZ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F602B0E-E4BC-689E-A56E-37ED8EA7F679}"/>
              </a:ext>
            </a:extLst>
          </p:cNvPr>
          <p:cNvSpPr txBox="1"/>
          <p:nvPr/>
        </p:nvSpPr>
        <p:spPr>
          <a:xfrm>
            <a:off x="370416" y="5400377"/>
            <a:ext cx="1100147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mited </a:t>
            </a:r>
            <a:r>
              <a:rPr lang="en-US" b="1" dirty="0"/>
              <a:t>partnered non-recipient</a:t>
            </a:r>
            <a:r>
              <a:rPr lang="en-US" dirty="0"/>
              <a:t> response indicates that partner income testing may be appropria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rge response by </a:t>
            </a:r>
            <a:r>
              <a:rPr lang="en-US" b="1" dirty="0"/>
              <a:t>partnered recipients</a:t>
            </a:r>
            <a:r>
              <a:rPr lang="en-US" dirty="0"/>
              <a:t> suggests that this group is significantly constrained after a </a:t>
            </a:r>
            <a:br>
              <a:rPr lang="en-US" dirty="0"/>
            </a:br>
            <a:r>
              <a:rPr lang="en-US" dirty="0"/>
              <a:t>job loss shock - may motivate higher couple payments</a:t>
            </a:r>
            <a:endParaRPr lang="en-NZ" dirty="0"/>
          </a:p>
        </p:txBody>
      </p:sp>
      <p:pic>
        <p:nvPicPr>
          <p:cNvPr id="6" name="Picture 5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395C634C-082B-AD19-81B2-6C978954B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87" y="1839304"/>
            <a:ext cx="4138212" cy="3364057"/>
          </a:xfrm>
          <a:prstGeom prst="rect">
            <a:avLst/>
          </a:prstGeom>
        </p:spPr>
      </p:pic>
      <p:pic>
        <p:nvPicPr>
          <p:cNvPr id="9" name="Picture 8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BE6B20B9-D6D2-C1D6-DA0E-D625AC056C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2050" y="1836213"/>
            <a:ext cx="4138213" cy="3364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5132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essons from working from hom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9311094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/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99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Motivation: Reforming social security into “unemployment insurance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280818"/>
            <a:ext cx="104268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ew Zealand Unemployment Insurance propo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belief that wage scarring is hig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at wage scarring is a product of “insufficient insurance” and “poor match quality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at providing greater social insurance to “pool risk” would reduce such scar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otivated a scheme offering 80% replacement rate for six months, without search requirements, </a:t>
            </a:r>
            <a:br>
              <a:rPr lang="en-AU" dirty="0"/>
            </a:br>
            <a:r>
              <a:rPr lang="en-AU" dirty="0"/>
              <a:t>for all individual up to the top 2% of the wage distribu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C78A00-5414-A664-0FEB-1BD9C6B98196}"/>
              </a:ext>
            </a:extLst>
          </p:cNvPr>
          <p:cNvSpPr txBox="1"/>
          <p:nvPr/>
        </p:nvSpPr>
        <p:spPr>
          <a:xfrm>
            <a:off x="317238" y="3199164"/>
            <a:ext cx="115575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e of these have been shown empirically in New Zealand or in Australia (who have similar benefit systems).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8B7B73-E04C-1449-E6D7-E5B52C728DA1}"/>
              </a:ext>
            </a:extLst>
          </p:cNvPr>
          <p:cNvSpPr txBox="1"/>
          <p:nvPr/>
        </p:nvSpPr>
        <p:spPr>
          <a:xfrm>
            <a:off x="317238" y="3800817"/>
            <a:ext cx="10310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y also has been raised in Australia with a focus on match quality (</a:t>
            </a:r>
            <a:r>
              <a:rPr lang="en-US" dirty="0" err="1">
                <a:hlinkClick r:id="rId2"/>
              </a:rPr>
              <a:t>JobMatcher</a:t>
            </a:r>
            <a:r>
              <a:rPr lang="en-US" dirty="0">
                <a:hlinkClick r:id="rId2"/>
              </a:rPr>
              <a:t> - Blueprint 2021</a:t>
            </a:r>
            <a:r>
              <a:rPr lang="en-US" dirty="0"/>
              <a:t>)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EBF43-04DE-08BB-0E16-83603C574FAB}"/>
              </a:ext>
            </a:extLst>
          </p:cNvPr>
          <p:cNvSpPr txBox="1"/>
          <p:nvPr/>
        </p:nvSpPr>
        <p:spPr>
          <a:xfrm>
            <a:off x="317238" y="4402470"/>
            <a:ext cx="1037136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though the evidence base is larger in Australia (thanks to work by TTPI and Melbourne Institute), </a:t>
            </a:r>
          </a:p>
          <a:p>
            <a:r>
              <a:rPr lang="en-US" dirty="0"/>
              <a:t>there are still areas to investigate this further before it is raised again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ge scarring estimates and the role of match quality. </a:t>
            </a:r>
            <a:r>
              <a:rPr lang="en-US" dirty="0">
                <a:hlinkClick r:id="rId3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bour supply responses to replacement rate changes. </a:t>
            </a:r>
            <a:r>
              <a:rPr lang="en-US" dirty="0">
                <a:hlinkClick r:id="rId4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/consumption responses to job loss (</a:t>
            </a:r>
            <a:r>
              <a:rPr lang="en-US" b="1" dirty="0"/>
              <a:t>the focus today</a:t>
            </a:r>
            <a:r>
              <a:rPr lang="en-US" dirty="0"/>
              <a:t>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4985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recipients and the role of employment</a:t>
            </a:r>
            <a:endParaRPr lang="en-NZ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4A0829-F4DD-B318-F6B6-C1D7A7CBEFEC}"/>
              </a:ext>
            </a:extLst>
          </p:cNvPr>
          <p:cNvSpPr txBox="1"/>
          <p:nvPr/>
        </p:nvSpPr>
        <p:spPr>
          <a:xfrm>
            <a:off x="1019034" y="1464503"/>
            <a:ext cx="3379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employment</a:t>
            </a:r>
            <a:endParaRPr lang="en-NZ" b="1" dirty="0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90D069-5386-8415-B25F-45B3B3C5A687}"/>
              </a:ext>
            </a:extLst>
          </p:cNvPr>
          <p:cNvSpPr txBox="1"/>
          <p:nvPr/>
        </p:nvSpPr>
        <p:spPr>
          <a:xfrm>
            <a:off x="6911843" y="1454167"/>
            <a:ext cx="4035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household income</a:t>
            </a:r>
            <a:endParaRPr lang="en-NZ" b="1" dirty="0">
              <a:solidFill>
                <a:srgbClr val="206166"/>
              </a:solidFill>
            </a:endParaRPr>
          </a:p>
        </p:txBody>
      </p:sp>
      <p:pic>
        <p:nvPicPr>
          <p:cNvPr id="5" name="Picture 4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7F6D24BB-E216-F2F2-2F61-9E016926CE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50" y="2207557"/>
            <a:ext cx="4707568" cy="36507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3BCAACA-FC47-A707-C576-B823C81ABA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596" y="2119223"/>
            <a:ext cx="4907571" cy="373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1781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3448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Why has consumption declined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069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Tax deductions suggest work related expenses matter – don’t want to tax these expenses: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2632F3-E21F-A524-A3C0-6D5DB12CB751}"/>
              </a:ext>
            </a:extLst>
          </p:cNvPr>
          <p:cNvSpPr txBox="1"/>
          <p:nvPr/>
        </p:nvSpPr>
        <p:spPr>
          <a:xfrm>
            <a:off x="370417" y="2258421"/>
            <a:ext cx="98714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US standard deduction</a:t>
            </a:r>
            <a:r>
              <a:rPr lang="en-US"/>
              <a:t> – 35% of average earnings, 23% of average FT earning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Australian tax-free threshold</a:t>
            </a:r>
            <a:r>
              <a:rPr lang="en-US"/>
              <a:t> – 19% of average FT earnings (other deductions allowed).</a:t>
            </a:r>
            <a:endParaRPr lang="en-NZ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C8D2CC-36E2-3AC5-548A-CB2F25D9DB39}"/>
              </a:ext>
            </a:extLst>
          </p:cNvPr>
          <p:cNvSpPr txBox="1"/>
          <p:nvPr/>
        </p:nvSpPr>
        <p:spPr>
          <a:xfrm>
            <a:off x="362218" y="4368138"/>
            <a:ext cx="11291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ithout a job there is no need to pay work-related expenses. As a result, </a:t>
            </a:r>
            <a:r>
              <a:rPr lang="en-US" b="1"/>
              <a:t>some of the </a:t>
            </a:r>
            <a:r>
              <a:rPr lang="en-US" b="1">
                <a:solidFill>
                  <a:srgbClr val="FF0000"/>
                </a:solidFill>
              </a:rPr>
              <a:t>expenditure</a:t>
            </a:r>
            <a:r>
              <a:rPr lang="en-US" b="1"/>
              <a:t> decline is not a decline in </a:t>
            </a:r>
            <a:r>
              <a:rPr lang="en-US" b="1">
                <a:solidFill>
                  <a:srgbClr val="92D050"/>
                </a:solidFill>
              </a:rPr>
              <a:t>consumption</a:t>
            </a:r>
            <a:r>
              <a:rPr lang="en-US" b="1"/>
              <a:t>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2C51CC-8097-BD04-852D-FB15FDC1180F}"/>
              </a:ext>
            </a:extLst>
          </p:cNvPr>
          <p:cNvSpPr txBox="1"/>
          <p:nvPr/>
        </p:nvSpPr>
        <p:spPr>
          <a:xfrm>
            <a:off x="362218" y="3588205"/>
            <a:ext cx="1129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 tax authorities say that “income” to pay for work related expenses aren’t income!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1517047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8616" y="1280818"/>
            <a:ext cx="6417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e can’t just look at consumption decline on job loss.</a:t>
            </a:r>
            <a:endParaRPr lang="en-NZ" b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5C18-707E-600D-9F43-A0B31C974316}"/>
              </a:ext>
            </a:extLst>
          </p:cNvPr>
          <p:cNvSpPr txBox="1"/>
          <p:nvPr/>
        </p:nvSpPr>
        <p:spPr>
          <a:xfrm>
            <a:off x="370417" y="2615147"/>
            <a:ext cx="3097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Lessons from retirement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0E4DD-0779-E70F-960D-99385CB70D76}"/>
              </a:ext>
            </a:extLst>
          </p:cNvPr>
          <p:cNvSpPr txBox="1"/>
          <p:nvPr/>
        </p:nvSpPr>
        <p:spPr>
          <a:xfrm>
            <a:off x="370417" y="4508876"/>
            <a:ext cx="5557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hat about lessons from working from home?</a:t>
            </a:r>
            <a:endParaRPr lang="en-NZ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BCD86A-63F9-C8D4-4473-FF3187E9A605}"/>
              </a:ext>
            </a:extLst>
          </p:cNvPr>
          <p:cNvSpPr txBox="1"/>
          <p:nvPr/>
        </p:nvSpPr>
        <p:spPr>
          <a:xfrm>
            <a:off x="378616" y="1840218"/>
            <a:ext cx="950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xpenditure decline is BOTH due to lower consumption and lower work-related expenses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399A1E-5519-D41D-B4BA-DC5EAA2ABD95}"/>
              </a:ext>
            </a:extLst>
          </p:cNvPr>
          <p:cNvSpPr txBox="1"/>
          <p:nvPr/>
        </p:nvSpPr>
        <p:spPr>
          <a:xfrm>
            <a:off x="378616" y="3121223"/>
            <a:ext cx="95033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edictable exit from the labour mar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urst (2008) – expenditure decline is NOT a decline in consum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mbination of reduced </a:t>
            </a:r>
            <a:r>
              <a:rPr lang="en-US" b="1"/>
              <a:t>work-related expenses</a:t>
            </a:r>
            <a:r>
              <a:rPr lang="en-US"/>
              <a:t> and time to </a:t>
            </a:r>
            <a:r>
              <a:rPr lang="en-US" b="1"/>
              <a:t>search for good deals</a:t>
            </a:r>
            <a:r>
              <a:rPr lang="en-US"/>
              <a:t>.</a:t>
            </a:r>
            <a:endParaRPr lang="en-NZ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C0230-6464-5BCD-8FAF-EF6F5DEB4A32}"/>
              </a:ext>
            </a:extLst>
          </p:cNvPr>
          <p:cNvSpPr txBox="1"/>
          <p:nvPr/>
        </p:nvSpPr>
        <p:spPr>
          <a:xfrm>
            <a:off x="370417" y="5059473"/>
            <a:ext cx="102376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ddenly working from home implies that some work-related expenses no longer occur (tra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VID as sh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</a:t>
            </a:r>
            <a:r>
              <a:rPr lang="en-US" i="1"/>
              <a:t>understate</a:t>
            </a:r>
            <a:r>
              <a:rPr lang="en-US"/>
              <a:t> savings (time budget, cost of working from home).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97385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9" grpId="0"/>
      <p:bldP spid="10" grpId="0"/>
      <p:bldP spid="1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7994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much of the spending decline is due to no longer having to go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806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lear categories where spending did drop when working from home.</a:t>
            </a:r>
            <a:endParaRPr lang="en-NZ" b="1" dirty="0"/>
          </a:p>
        </p:txBody>
      </p:sp>
      <p:pic>
        <p:nvPicPr>
          <p:cNvPr id="7" name="Picture 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3DA783E5-FAE7-6187-325A-4A61BDD5F0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087" y="2191746"/>
            <a:ext cx="6219826" cy="45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771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8D31C9-AF91-0D5C-D9F7-13BE468B3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D5A2DD-83B2-1042-52A9-4D28A1A870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03290A-B829-F545-9692-B2D186B5E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stage</a:t>
            </a:r>
            <a:endParaRPr lang="en-NZ" dirty="0"/>
          </a:p>
        </p:txBody>
      </p:sp>
      <p:pic>
        <p:nvPicPr>
          <p:cNvPr id="5" name="Picture 4" descr="A graph with green and blue dots&#10;&#10;Description automatically generated">
            <a:extLst>
              <a:ext uri="{FF2B5EF4-FFF2-40B4-BE49-F238E27FC236}">
                <a16:creationId xmlns:a16="http://schemas.microsoft.com/office/drawing/2014/main" id="{823883A4-5801-E5D0-6EF5-430337FC4F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42671"/>
            <a:ext cx="6867956" cy="49964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42A022E-56B0-75C7-DF82-8A7616921FDA}"/>
              </a:ext>
            </a:extLst>
          </p:cNvPr>
          <p:cNvSpPr txBox="1"/>
          <p:nvPr/>
        </p:nvSpPr>
        <p:spPr>
          <a:xfrm>
            <a:off x="6605086" y="751344"/>
            <a:ext cx="5586914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ur sample is all individuals who are employed</a:t>
            </a:r>
            <a:br>
              <a:rPr lang="en-US" dirty="0"/>
            </a:br>
            <a:r>
              <a:rPr lang="en-US" dirty="0"/>
              <a:t>and don’t work from home in FY18 and FY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rument is the industry-occupation level share </a:t>
            </a:r>
            <a:br>
              <a:rPr lang="en-US" dirty="0"/>
            </a:br>
            <a:r>
              <a:rPr lang="en-US" dirty="0"/>
              <a:t>of employees working from home in 2019 (for all </a:t>
            </a:r>
            <a:br>
              <a:rPr lang="en-US" dirty="0"/>
            </a:br>
            <a:r>
              <a:rPr lang="en-US" dirty="0"/>
              <a:t>employe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</a:t>
            </a:r>
            <a:r>
              <a:rPr lang="en-US" b="1" dirty="0"/>
              <a:t>relevance</a:t>
            </a:r>
            <a:r>
              <a:rPr lang="en-US" dirty="0"/>
              <a:t>, we would need the probability of</a:t>
            </a:r>
            <a:br>
              <a:rPr lang="en-US" dirty="0"/>
            </a:br>
            <a:r>
              <a:rPr lang="en-US" dirty="0"/>
              <a:t>working from home in 2020 to increase with the</a:t>
            </a:r>
            <a:br>
              <a:rPr lang="en-US" dirty="0"/>
            </a:br>
            <a:r>
              <a:rPr lang="en-US" dirty="0"/>
              <a:t>industry-occupation share (i.e. Bartik Instrumen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-stat: 218 (not a weak instrumen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0ppt increase in </a:t>
            </a:r>
            <a:r>
              <a:rPr lang="en-US" dirty="0" err="1"/>
              <a:t>ind:occ</a:t>
            </a:r>
            <a:r>
              <a:rPr lang="en-US" dirty="0"/>
              <a:t> WFH share, 4.2ppt </a:t>
            </a:r>
            <a:br>
              <a:rPr lang="en-US" dirty="0"/>
            </a:br>
            <a:r>
              <a:rPr lang="en-US" dirty="0"/>
              <a:t>higher probability of WFH during COVI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clusion</a:t>
            </a:r>
            <a:r>
              <a:rPr lang="en-US" dirty="0"/>
              <a:t>: prior industry-occupation must not </a:t>
            </a:r>
            <a:br>
              <a:rPr lang="en-US" dirty="0"/>
            </a:br>
            <a:r>
              <a:rPr lang="en-US" dirty="0"/>
              <a:t>influence consumption directly (control channels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Job-loss risk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ome and employment statu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11105754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144863"/>
            <a:ext cx="771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1716950"/>
            <a:ext cx="780649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pre-COVID industry share as an instrument for working from home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estimate is a 15% decline in expenditure,</a:t>
            </a:r>
            <a:br>
              <a:rPr lang="en-US" dirty="0"/>
            </a:br>
            <a:r>
              <a:rPr lang="en-US" dirty="0"/>
              <a:t>however very imprecis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S estimates are a 5% declin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cery spending (which is seen as less work related)</a:t>
            </a:r>
            <a:br>
              <a:rPr lang="en-US" dirty="0"/>
            </a:br>
            <a:r>
              <a:rPr lang="en-US" dirty="0"/>
              <a:t>does not experience a statistically significant decline </a:t>
            </a:r>
            <a:br>
              <a:rPr lang="en-US" dirty="0"/>
            </a:br>
            <a:r>
              <a:rPr lang="en-US" dirty="0"/>
              <a:t>(6.6% reduction).</a:t>
            </a:r>
            <a:endParaRPr lang="en-N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A7F816-87F6-ECFA-F646-C8A17D9BF4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3220" y="2344209"/>
            <a:ext cx="5084512" cy="36973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A1EC80-35F4-1E34-1BB2-B0306F465C5C}"/>
              </a:ext>
            </a:extLst>
          </p:cNvPr>
          <p:cNvSpPr txBox="1"/>
          <p:nvPr/>
        </p:nvSpPr>
        <p:spPr>
          <a:xfrm>
            <a:off x="244911" y="5171532"/>
            <a:ext cx="6022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caling for time out of work, this explains 83% of </a:t>
            </a:r>
            <a:br>
              <a:rPr lang="en-US" b="1" dirty="0"/>
            </a:br>
            <a:r>
              <a:rPr lang="en-US" b="1" dirty="0"/>
              <a:t>the expenditure decline for </a:t>
            </a:r>
            <a:r>
              <a:rPr lang="en-US" b="1" u="sng" dirty="0"/>
              <a:t>non-beneficiaries</a:t>
            </a:r>
            <a:r>
              <a:rPr lang="en-US" b="1" dirty="0"/>
              <a:t>.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3990896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423369-6B93-2A31-0C8A-F9676888A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E25CE3-8CF9-BAD5-8659-9586C30794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BF637F-EBC4-E490-D501-DBD6C35D2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AB7A00-9133-FF79-79E2-A4A911742BA8}"/>
              </a:ext>
            </a:extLst>
          </p:cNvPr>
          <p:cNvSpPr txBox="1"/>
          <p:nvPr/>
        </p:nvSpPr>
        <p:spPr>
          <a:xfrm>
            <a:off x="370417" y="1144862"/>
            <a:ext cx="6453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52B36-BA92-16BE-6EDC-96B5BFA5497B}"/>
              </a:ext>
            </a:extLst>
          </p:cNvPr>
          <p:cNvSpPr txBox="1"/>
          <p:nvPr/>
        </p:nvSpPr>
        <p:spPr>
          <a:xfrm>
            <a:off x="370417" y="2296818"/>
            <a:ext cx="586323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 stronger for partnered household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7% reduction in spending when WFH – 15% for those without children, and 21% for those with childre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ote: Household consumption, but this is just the individual working from hom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ponse much weaker for single individuals (2%, insignificant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lthough sole parents have a large estimated response (17%) there are few observations </a:t>
            </a:r>
            <a:br>
              <a:rPr lang="en-US" dirty="0"/>
            </a:br>
            <a:r>
              <a:rPr lang="en-US" dirty="0"/>
              <a:t>and the instrument is weak. </a:t>
            </a:r>
            <a:endParaRPr lang="en-NZ" dirty="0"/>
          </a:p>
        </p:txBody>
      </p:sp>
      <p:pic>
        <p:nvPicPr>
          <p:cNvPr id="8" name="Picture 7" descr="A graph of a couple working from home&#10;&#10;Description automatically generated">
            <a:extLst>
              <a:ext uri="{FF2B5EF4-FFF2-40B4-BE49-F238E27FC236}">
                <a16:creationId xmlns:a16="http://schemas.microsoft.com/office/drawing/2014/main" id="{C476341D-6FDB-F74D-318A-8E4F4126EB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4283" y="1144863"/>
            <a:ext cx="506730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212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9777946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1456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A7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>
                <a:solidFill>
                  <a:srgbClr val="004F54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40348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 for today</a:t>
            </a:r>
            <a:endParaRPr lang="en-A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B6A3AD3-379F-3F40-91AA-24DD5BB88CCB}"/>
              </a:ext>
            </a:extLst>
          </p:cNvPr>
          <p:cNvGrpSpPr/>
          <p:nvPr/>
        </p:nvGrpSpPr>
        <p:grpSpPr>
          <a:xfrm>
            <a:off x="473685" y="1948637"/>
            <a:ext cx="9998791" cy="1623927"/>
            <a:chOff x="598813" y="3340823"/>
            <a:chExt cx="9998791" cy="162392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60A2F4A-0C3E-AF4A-22B7-A2FAEF821371}"/>
                </a:ext>
              </a:extLst>
            </p:cNvPr>
            <p:cNvSpPr txBox="1"/>
            <p:nvPr/>
          </p:nvSpPr>
          <p:spPr>
            <a:xfrm flipH="1">
              <a:off x="598813" y="4041420"/>
              <a:ext cx="999879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dirty="0"/>
                <a:t>What are the expenditure responses to job loss?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dirty="0"/>
                <a:t>How do these expenditure responses differ by benefit status and family status?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dirty="0"/>
                <a:t>How much is this a reduction in income vs a reduction in work related expenses?</a:t>
              </a:r>
              <a:endParaRPr lang="en-AU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565D1D-091E-27D7-AE4A-367E69FA18FB}"/>
                </a:ext>
              </a:extLst>
            </p:cNvPr>
            <p:cNvSpPr txBox="1"/>
            <p:nvPr/>
          </p:nvSpPr>
          <p:spPr>
            <a:xfrm flipH="1">
              <a:off x="598813" y="3340823"/>
              <a:ext cx="85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Aim to answer this by asking:</a:t>
              </a:r>
              <a:endParaRPr lang="en-AU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AF9CA02-07EA-92DA-4409-002A8417E168}"/>
              </a:ext>
            </a:extLst>
          </p:cNvPr>
          <p:cNvSpPr txBox="1"/>
          <p:nvPr/>
        </p:nvSpPr>
        <p:spPr>
          <a:xfrm flipH="1">
            <a:off x="473685" y="1248040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rgbClr val="00B050"/>
                </a:solidFill>
              </a:rPr>
              <a:t>Are JSP eligibility rules “well targeted”</a:t>
            </a:r>
            <a:endParaRPr lang="en-AU" i="1" dirty="0">
              <a:solidFill>
                <a:srgbClr val="00B05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BB2BB4-A294-FEE7-7DC6-0F4206E74CCF}"/>
              </a:ext>
            </a:extLst>
          </p:cNvPr>
          <p:cNvSpPr txBox="1"/>
          <p:nvPr/>
        </p:nvSpPr>
        <p:spPr>
          <a:xfrm>
            <a:off x="473685" y="4281260"/>
            <a:ext cx="9519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i="1" dirty="0"/>
              <a:t>The idea is that, if those who don’t receive the JSP on job loss don’t reduce </a:t>
            </a:r>
            <a:r>
              <a:rPr lang="en-AU" b="1" i="1" dirty="0"/>
              <a:t>consumption</a:t>
            </a:r>
            <a:r>
              <a:rPr lang="en-AU" i="1" dirty="0"/>
              <a:t> </a:t>
            </a:r>
          </a:p>
          <a:p>
            <a:r>
              <a:rPr lang="en-AU" i="1" dirty="0"/>
              <a:t>then the selection criteria are excluding those who are already insured against such loss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E3D4D-CEBE-CF65-CE54-052755EFF598}"/>
              </a:ext>
            </a:extLst>
          </p:cNvPr>
          <p:cNvSpPr txBox="1"/>
          <p:nvPr/>
        </p:nvSpPr>
        <p:spPr>
          <a:xfrm>
            <a:off x="473684" y="5394242"/>
            <a:ext cx="107846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i="1" dirty="0"/>
              <a:t>By not paying benefits to those who are already insured we improve </a:t>
            </a:r>
            <a:r>
              <a:rPr lang="en-AU" b="1" i="1" dirty="0"/>
              <a:t>targeting efficiency</a:t>
            </a:r>
            <a:r>
              <a:rPr lang="en-AU" i="1" dirty="0"/>
              <a:t> – supporting</a:t>
            </a:r>
            <a:br>
              <a:rPr lang="en-AU" i="1" dirty="0"/>
            </a:br>
            <a:r>
              <a:rPr lang="en-AU" i="1" dirty="0"/>
              <a:t>those that require the payment at a lower fiscal cost.</a:t>
            </a:r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ckground information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7EE9C4-0CE6-29E2-8BA9-C009D08C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54792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8455156-FF19-648F-126A-8DF26468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80" y="1586558"/>
            <a:ext cx="5831520" cy="453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2900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0B836-ABDE-569C-3291-7DF13E88F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538F77-65C2-7941-2A80-07BD71BB91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t yet treated and balanced panel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50245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1CC6-873F-9B81-8C11-C8898FEE3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E92A94-5485-98BC-CAC3-A37C749FB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EADBD9A6-60E9-CF50-8120-4CD43258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Not-yet treated</a:t>
            </a:r>
            <a:endParaRPr lang="en-US" dirty="0"/>
          </a:p>
        </p:txBody>
      </p:sp>
      <p:pic>
        <p:nvPicPr>
          <p:cNvPr id="6" name="Picture 5" descr="A graph of a number of patients with a number of patients with a number of patients with a number of patients with a number of patients with a number of patients with a number of patients with a&#10;&#10;Description automatically generated">
            <a:extLst>
              <a:ext uri="{FF2B5EF4-FFF2-40B4-BE49-F238E27FC236}">
                <a16:creationId xmlns:a16="http://schemas.microsoft.com/office/drawing/2014/main" id="{9B012E3A-7FE6-449C-2768-3A53E9D00F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926851"/>
            <a:ext cx="5600700" cy="3524250"/>
          </a:xfrm>
          <a:prstGeom prst="rect">
            <a:avLst/>
          </a:prstGeom>
        </p:spPr>
      </p:pic>
      <p:pic>
        <p:nvPicPr>
          <p:cNvPr id="2" name="Picture 1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0B728827-B7B5-8742-0D7C-0215A7947A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051" y="1891938"/>
            <a:ext cx="5154649" cy="3559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281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26A6EB-C6D6-BDC1-0A63-68727BBF3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94ED7E-6D98-EAA1-7C8D-D7E9A8EC5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E92A94-5485-98BC-CAC3-A37C749FB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B2296D1-D7D8-8316-44CC-3055D39E78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lanced panel</a:t>
            </a:r>
            <a:endParaRPr lang="en-US" dirty="0"/>
          </a:p>
        </p:txBody>
      </p:sp>
      <p:pic>
        <p:nvPicPr>
          <p:cNvPr id="6" name="Picture 5" descr="A graph with a line&#10;&#10;Description automatically generated">
            <a:extLst>
              <a:ext uri="{FF2B5EF4-FFF2-40B4-BE49-F238E27FC236}">
                <a16:creationId xmlns:a16="http://schemas.microsoft.com/office/drawing/2014/main" id="{9D3088C0-BAFA-BBB7-35A4-2D3FB9070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91" y="1396813"/>
            <a:ext cx="5600700" cy="50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1554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abour supply responses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903508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urance and labour supply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51510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do benefits influence the incentive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Baily-Chetty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278424"/>
            <a:ext cx="103743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s after job loss reflect the potential “benefit” of a higher benefit rat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ever, total </a:t>
            </a:r>
            <a:r>
              <a:rPr lang="en-US" dirty="0" err="1"/>
              <a:t>labour</a:t>
            </a:r>
            <a:r>
              <a:rPr lang="en-US" dirty="0"/>
              <a:t> supply response is needed to reflect an important “cost” of higher benefits.</a:t>
            </a:r>
            <a:endParaRPr lang="en-NZ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914A2B-10DC-D106-8DA5-B4E4EACE50C9}"/>
              </a:ext>
            </a:extLst>
          </p:cNvPr>
          <p:cNvSpPr txBox="1"/>
          <p:nvPr/>
        </p:nvSpPr>
        <p:spPr>
          <a:xfrm>
            <a:off x="362218" y="3656246"/>
            <a:ext cx="4019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rk underway on labour supply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719C52-3C76-E9AA-8899-572CC5D0E2B7}"/>
              </a:ext>
            </a:extLst>
          </p:cNvPr>
          <p:cNvSpPr txBox="1"/>
          <p:nvPr/>
        </p:nvSpPr>
        <p:spPr>
          <a:xfrm>
            <a:off x="442135" y="4099365"/>
            <a:ext cx="572393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b="1" dirty="0"/>
              <a:t>Intensive margin </a:t>
            </a:r>
            <a:r>
              <a:rPr lang="en-NZ" dirty="0"/>
              <a:t>response to benefit abat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/>
              <a:t>COVID benefit change.</a:t>
            </a:r>
            <a:br>
              <a:rPr lang="en-NZ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954071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01413"/>
            <a:ext cx="11459365" cy="700597"/>
          </a:xfrm>
        </p:spPr>
        <p:txBody>
          <a:bodyPr/>
          <a:lstStyle/>
          <a:p>
            <a:r>
              <a:rPr lang="en-US"/>
              <a:t>Do beneficiaries “bunch” at the abatement threshold?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7346915" y="2036731"/>
            <a:ext cx="45861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 bunching – implies no intensive margin response to EMTR rise from 0% to 50%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results using DOMINO </a:t>
            </a:r>
            <a:br>
              <a:rPr lang="en-US"/>
            </a:br>
            <a:r>
              <a:rPr lang="en-US"/>
              <a:t>and other period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lack of bunching found overseas.</a:t>
            </a:r>
            <a:endParaRPr lang="en-NZ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939FDB-D0F2-4B27-3ACC-F22676365B50}"/>
              </a:ext>
            </a:extLst>
          </p:cNvPr>
          <p:cNvSpPr txBox="1"/>
          <p:nvPr/>
        </p:nvSpPr>
        <p:spPr>
          <a:xfrm>
            <a:off x="370417" y="4959187"/>
            <a:ext cx="10289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Potential role of mutual obligations: </a:t>
            </a:r>
            <a:r>
              <a:rPr lang="en-US"/>
              <a:t>Negative EMTR if benefit receipt relies on taking up a job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D8C587-8222-5F6B-0782-FB6E01FC4A8F}"/>
              </a:ext>
            </a:extLst>
          </p:cNvPr>
          <p:cNvSpPr txBox="1"/>
          <p:nvPr/>
        </p:nvSpPr>
        <p:spPr>
          <a:xfrm>
            <a:off x="370417" y="5669914"/>
            <a:ext cx="5251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“Extensive” participation margin is missing!</a:t>
            </a:r>
            <a:endParaRPr lang="en-NZ" b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F39BCB-1996-7219-49C3-FD562DBC8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47" y="1701256"/>
            <a:ext cx="6933563" cy="273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472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477994" y="2117224"/>
            <a:ext cx="10827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orland (2020) – no appreciable difference in job-finding rates after benefit increase (ex March 2020)</a:t>
            </a:r>
            <a:endParaRPr lang="en-NZ"/>
          </a:p>
        </p:txBody>
      </p:sp>
      <p:pic>
        <p:nvPicPr>
          <p:cNvPr id="5" name="Picture 4" descr="A graph of a number of people with different colored lines&#10;&#10;Description automatically generated">
            <a:extLst>
              <a:ext uri="{FF2B5EF4-FFF2-40B4-BE49-F238E27FC236}">
                <a16:creationId xmlns:a16="http://schemas.microsoft.com/office/drawing/2014/main" id="{D424E065-615F-8706-1F2F-E58E9102F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477" y="3135739"/>
            <a:ext cx="3433394" cy="3503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105FC2-8CFB-1C59-BAEF-A7B565404FD4}"/>
              </a:ext>
            </a:extLst>
          </p:cNvPr>
          <p:cNvSpPr txBox="1"/>
          <p:nvPr/>
        </p:nvSpPr>
        <p:spPr>
          <a:xfrm>
            <a:off x="477993" y="2535427"/>
            <a:ext cx="7452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bout announcement effects using high frequency (STP) data?</a:t>
            </a:r>
            <a:endParaRPr lang="en-NZ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FBB793-ECE6-B96D-5E41-314087163C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7159" y="3135739"/>
            <a:ext cx="3466604" cy="329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69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1020AF-6577-4E7F-B0B0-85697A65C6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041848-50CE-0D86-531C-5895F2C828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2EF547-84C6-45FE-0759-66FCEB224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5BC2C7-A78A-1C64-480F-FE077E344480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BA27BC-B498-F4B4-06B0-687CB07BAB69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ADE55D-28F0-0DED-092C-335668167922}"/>
              </a:ext>
            </a:extLst>
          </p:cNvPr>
          <p:cNvSpPr txBox="1"/>
          <p:nvPr/>
        </p:nvSpPr>
        <p:spPr>
          <a:xfrm>
            <a:off x="477994" y="2117224"/>
            <a:ext cx="87891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.7ppt (19%) decline in JFR after announcement (both RDD and </a:t>
            </a:r>
            <a:r>
              <a:rPr lang="en-US" dirty="0" err="1"/>
              <a:t>DiD</a:t>
            </a:r>
            <a:r>
              <a:rPr lang="en-US" dirty="0"/>
              <a:t> estimate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abour supply elasticity of -0.21%</a:t>
            </a:r>
            <a:endParaRPr lang="en-NZ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C8937A-194B-00B4-6BD1-2B58DC33C165}"/>
              </a:ext>
            </a:extLst>
          </p:cNvPr>
          <p:cNvSpPr txBox="1"/>
          <p:nvPr/>
        </p:nvSpPr>
        <p:spPr>
          <a:xfrm>
            <a:off x="477994" y="2763555"/>
            <a:ext cx="8455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.7ppt (64%) increase in SR after announcement (RDD suggests 5ppt (106%)</a:t>
            </a:r>
            <a:endParaRPr lang="en-NZ" dirty="0"/>
          </a:p>
        </p:txBody>
      </p:sp>
      <p:pic>
        <p:nvPicPr>
          <p:cNvPr id="10" name="Picture 9" descr="A graph of a job finding&#10;&#10;Description automatically generated">
            <a:extLst>
              <a:ext uri="{FF2B5EF4-FFF2-40B4-BE49-F238E27FC236}">
                <a16:creationId xmlns:a16="http://schemas.microsoft.com/office/drawing/2014/main" id="{A58C9D56-8997-9D35-273C-D98D4E7FF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9" y="3429000"/>
            <a:ext cx="3317658" cy="3024260"/>
          </a:xfrm>
          <a:prstGeom prst="rect">
            <a:avLst/>
          </a:prstGeom>
        </p:spPr>
      </p:pic>
      <p:pic>
        <p:nvPicPr>
          <p:cNvPr id="13" name="Picture 12" descr="A graph of a line graph&#10;&#10;Description automatically generated with medium confidence">
            <a:extLst>
              <a:ext uri="{FF2B5EF4-FFF2-40B4-BE49-F238E27FC236}">
                <a16:creationId xmlns:a16="http://schemas.microsoft.com/office/drawing/2014/main" id="{C58C573A-6DAF-E832-D8BF-5746447ED3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9" y="3417611"/>
            <a:ext cx="3483628" cy="317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176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F72C9-7254-985E-51B2-3FED210569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F11267-E67A-6D81-BBE7-44F5EC4DA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</a:t>
            </a:r>
            <a:r>
              <a:rPr lang="en-AU" dirty="0"/>
              <a:t>age/income scarring</a:t>
            </a:r>
          </a:p>
        </p:txBody>
      </p:sp>
    </p:spTree>
    <p:extLst>
      <p:ext uri="{BB962C8B-B14F-4D97-AF65-F5344CB8AC3E}">
        <p14:creationId xmlns:p14="http://schemas.microsoft.com/office/powerpoint/2010/main" val="1273760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8E335-77CC-24D5-229C-EE8BD32BF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253627-C8E9-3DEB-8A8D-FAE5078EF0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F5044A-2EEA-7A7C-9ED5-E6A060C84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Insurance and optimal benef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B69EDA-403D-3597-98E3-F6DA3F5E181E}"/>
              </a:ext>
            </a:extLst>
          </p:cNvPr>
          <p:cNvSpPr txBox="1"/>
          <p:nvPr/>
        </p:nvSpPr>
        <p:spPr>
          <a:xfrm>
            <a:off x="362218" y="1129561"/>
            <a:ext cx="9487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manent income hypothesis (PIH) – </a:t>
            </a:r>
            <a:r>
              <a:rPr lang="en-US" dirty="0"/>
              <a:t>if job loss is a </a:t>
            </a:r>
            <a:r>
              <a:rPr lang="en-US" b="1" i="1" dirty="0"/>
              <a:t>temporary</a:t>
            </a:r>
            <a:r>
              <a:rPr lang="en-US" b="1" dirty="0"/>
              <a:t> </a:t>
            </a:r>
            <a:r>
              <a:rPr lang="en-US" dirty="0"/>
              <a:t>income shock there </a:t>
            </a:r>
          </a:p>
          <a:p>
            <a:r>
              <a:rPr lang="en-US"/>
              <a:t>should be a</a:t>
            </a:r>
            <a:r>
              <a:rPr lang="en-US" b="1"/>
              <a:t> </a:t>
            </a:r>
            <a:r>
              <a:rPr lang="en-US" b="1" i="1"/>
              <a:t>limited</a:t>
            </a:r>
            <a:r>
              <a:rPr lang="en-US" b="1"/>
              <a:t> </a:t>
            </a:r>
            <a:r>
              <a:rPr lang="en-US"/>
              <a:t>change in consumption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A943B2-54A1-5751-C872-5A03AA13368A}"/>
              </a:ext>
            </a:extLst>
          </p:cNvPr>
          <p:cNvSpPr txBox="1"/>
          <p:nvPr/>
        </p:nvSpPr>
        <p:spPr>
          <a:xfrm>
            <a:off x="362218" y="1969897"/>
            <a:ext cx="8965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f individuals can </a:t>
            </a:r>
            <a:r>
              <a:rPr lang="en-US" b="1" dirty="0"/>
              <a:t>perfectly insure</a:t>
            </a:r>
            <a:r>
              <a:rPr lang="en-US" dirty="0"/>
              <a:t> against job loss risk, there should be no change in consumption from job loss.</a:t>
            </a:r>
            <a:endParaRPr lang="en-AU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180EE26-7D26-38D9-1745-499717CDFDA8}"/>
              </a:ext>
            </a:extLst>
          </p:cNvPr>
          <p:cNvCxnSpPr/>
          <p:nvPr/>
        </p:nvCxnSpPr>
        <p:spPr>
          <a:xfrm>
            <a:off x="548640" y="3184155"/>
            <a:ext cx="804672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06B555F-1D57-1E21-CB46-7D91C31EA066}"/>
              </a:ext>
            </a:extLst>
          </p:cNvPr>
          <p:cNvSpPr txBox="1"/>
          <p:nvPr/>
        </p:nvSpPr>
        <p:spPr>
          <a:xfrm>
            <a:off x="1709928" y="2860989"/>
            <a:ext cx="4906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umption changes can be used to understand more about the nature of job loss.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FA5001-EF63-D156-92B9-FA8D440577ED}"/>
              </a:ext>
            </a:extLst>
          </p:cNvPr>
          <p:cNvSpPr txBox="1"/>
          <p:nvPr/>
        </p:nvSpPr>
        <p:spPr>
          <a:xfrm>
            <a:off x="362218" y="5329881"/>
            <a:ext cx="63677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ily-Chetty result</a:t>
            </a:r>
            <a:r>
              <a:rPr lang="en-US" dirty="0"/>
              <a:t>: Consumption response to job loss can be used to calculate the </a:t>
            </a:r>
            <a:r>
              <a:rPr lang="en-US" i="1" dirty="0"/>
              <a:t>optimal benefit level</a:t>
            </a:r>
            <a:r>
              <a:rPr lang="en-US" dirty="0"/>
              <a:t> (along with an estimate of </a:t>
            </a:r>
            <a:r>
              <a:rPr lang="en-US" b="1" i="1" dirty="0"/>
              <a:t>labour supply responses</a:t>
            </a:r>
            <a:r>
              <a:rPr lang="en-US" dirty="0"/>
              <a:t>). [not value of leisure or match quality]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760D4E-FB68-D9A9-3A20-E529F74579B5}"/>
              </a:ext>
            </a:extLst>
          </p:cNvPr>
          <p:cNvSpPr txBox="1"/>
          <p:nvPr/>
        </p:nvSpPr>
        <p:spPr>
          <a:xfrm>
            <a:off x="366298" y="3748128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government and family insurance against income shocks in general (Tin and Tran 2023).</a:t>
            </a:r>
            <a:endParaRPr lang="en-AU" dirty="0"/>
          </a:p>
        </p:txBody>
      </p:sp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C421AD4F-4E0D-ABB2-59DE-2FCA2CD464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723" y="2907792"/>
            <a:ext cx="4608493" cy="3354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D9477BC-831E-333B-188C-DE1C571B4B67}"/>
              </a:ext>
            </a:extLst>
          </p:cNvPr>
          <p:cNvSpPr txBox="1"/>
          <p:nvPr/>
        </p:nvSpPr>
        <p:spPr>
          <a:xfrm>
            <a:off x="362218" y="4554564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household insurance ends up similar to the US (Morley et al 2024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3072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  <p:bldP spid="5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370417" y="5289308"/>
            <a:ext cx="9324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wever, if this is a </a:t>
            </a:r>
            <a:r>
              <a:rPr lang="en-US" b="1"/>
              <a:t>temporary drop in household income</a:t>
            </a:r>
            <a:r>
              <a:rPr lang="en-US"/>
              <a:t>, we wouldn’t expect much </a:t>
            </a:r>
            <a:br>
              <a:rPr lang="en-US"/>
            </a:br>
            <a:r>
              <a:rPr lang="en-US"/>
              <a:t>of a change in consumption.</a:t>
            </a:r>
            <a:endParaRPr lang="en-A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3187011" y="1669919"/>
            <a:ext cx="5203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taggered Event Study (for consumption sample)</a:t>
            </a:r>
            <a:endParaRPr lang="en-AU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BDEC08-11C3-40E6-2D82-020183E649E7}"/>
              </a:ext>
            </a:extLst>
          </p:cNvPr>
          <p:cNvSpPr txBox="1"/>
          <p:nvPr/>
        </p:nvSpPr>
        <p:spPr>
          <a:xfrm>
            <a:off x="370417" y="6045038"/>
            <a:ext cx="10107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mplications for the “optimal” benefit level and coverage depend on how consumption will change.</a:t>
            </a:r>
            <a:endParaRPr lang="en-AU" b="1"/>
          </a:p>
        </p:txBody>
      </p:sp>
      <p:pic>
        <p:nvPicPr>
          <p:cNvPr id="28" name="Picture 27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EB67F23E-D581-0647-42F1-B01A991DB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459" y="2278255"/>
            <a:ext cx="3897758" cy="2863659"/>
          </a:xfrm>
          <a:prstGeom prst="rect">
            <a:avLst/>
          </a:prstGeom>
        </p:spPr>
      </p:pic>
      <p:pic>
        <p:nvPicPr>
          <p:cNvPr id="30" name="Picture 29" descr="A graph of a graph showing a graph of a scar&#10;&#10;Description automatically generated with medium confidence">
            <a:extLst>
              <a:ext uri="{FF2B5EF4-FFF2-40B4-BE49-F238E27FC236}">
                <a16:creationId xmlns:a16="http://schemas.microsoft.com/office/drawing/2014/main" id="{FE923742-34B5-6F05-1A18-1AD5FD22E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98" y="2303030"/>
            <a:ext cx="3897758" cy="28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5" grpId="0"/>
      <p:bldP spid="20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for non-benefit recipient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2721777" y="1685763"/>
            <a:ext cx="4999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taggered Event Study – non-benefit recipients</a:t>
            </a:r>
            <a:endParaRPr lang="en-AU" i="1"/>
          </a:p>
        </p:txBody>
      </p:sp>
      <p:pic>
        <p:nvPicPr>
          <p:cNvPr id="17" name="Picture 16" descr="A graph with a line graph&#10;&#10;Description automatically generated">
            <a:extLst>
              <a:ext uri="{FF2B5EF4-FFF2-40B4-BE49-F238E27FC236}">
                <a16:creationId xmlns:a16="http://schemas.microsoft.com/office/drawing/2014/main" id="{5B808C72-153B-2EE8-88DB-E64A024B1A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44" y="2252805"/>
            <a:ext cx="3904628" cy="2868706"/>
          </a:xfrm>
          <a:prstGeom prst="rect">
            <a:avLst/>
          </a:prstGeom>
        </p:spPr>
      </p:pic>
      <p:pic>
        <p:nvPicPr>
          <p:cNvPr id="25" name="Picture 24" descr="A graph of a graph showing the amount of loss of a person&#10;&#10;Description automatically generated with medium confidence">
            <a:extLst>
              <a:ext uri="{FF2B5EF4-FFF2-40B4-BE49-F238E27FC236}">
                <a16:creationId xmlns:a16="http://schemas.microsoft.com/office/drawing/2014/main" id="{319B01F2-C309-B154-5AAD-0D4201FF04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266" y="2186645"/>
            <a:ext cx="4136297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2627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vent study approach – mass layoffs (PLIDA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/>
              <p:nvPr/>
            </p:nvSpPr>
            <p:spPr>
              <a:xfrm>
                <a:off x="2875455" y="1964656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75455" y="1964656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0828D4-01EC-9FAC-D4AC-B77632D30AC7}"/>
              </a:ext>
            </a:extLst>
          </p:cNvPr>
          <p:cNvSpPr txBox="1"/>
          <p:nvPr/>
        </p:nvSpPr>
        <p:spPr>
          <a:xfrm>
            <a:off x="472631" y="4623270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re an individual's wage income in a given year is a function of time varying observable characteristics, </a:t>
            </a:r>
            <a:br>
              <a:rPr lang="en-US" dirty="0"/>
            </a:br>
            <a:r>
              <a:rPr lang="en-US" dirty="0"/>
              <a:t>time invariant characteristics, calendar time effects, and an idiosyncratic error term. 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/>
              <p:nvPr/>
            </p:nvSpPr>
            <p:spPr>
              <a:xfrm>
                <a:off x="472632" y="5477676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 dirty="0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lt; 0</a:t>
                </a:r>
                <a:r>
                  <a:rPr lang="en-AU" dirty="0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gt;= 1</a:t>
                </a:r>
                <a:r>
                  <a:rPr lang="en-AU" dirty="0"/>
                  <a:t> we have as estimate of the wage scar </a:t>
                </a:r>
                <a:r>
                  <a:rPr lang="en-AU" i="1" dirty="0"/>
                  <a:t>k</a:t>
                </a:r>
                <a:r>
                  <a:rPr lang="en-AU" dirty="0"/>
                  <a:t> periods in the future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632" y="5477676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974" r="-776" b="-9934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CFEF132-E7E4-8F7E-45EE-B907476B84F9}"/>
              </a:ext>
            </a:extLst>
          </p:cNvPr>
          <p:cNvSpPr txBox="1"/>
          <p:nvPr/>
        </p:nvSpPr>
        <p:spPr>
          <a:xfrm>
            <a:off x="472632" y="1041326"/>
            <a:ext cx="1181086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base event studies (unless a TWFE approach is listed) use a Sun and Abraham (2020) interaction-weighted</a:t>
            </a:r>
            <a:br>
              <a:rPr lang="en-US" dirty="0"/>
            </a:br>
            <a:r>
              <a:rPr lang="en-US" dirty="0"/>
              <a:t>event study approach. The general specification is similar, with everything estimated at the </a:t>
            </a:r>
            <a:r>
              <a:rPr lang="en-US" dirty="0" err="1"/>
              <a:t>individual:cohort</a:t>
            </a:r>
            <a:r>
              <a:rPr lang="en-US" dirty="0"/>
              <a:t> level </a:t>
            </a:r>
            <a:br>
              <a:rPr lang="en-US" dirty="0"/>
            </a:br>
            <a:r>
              <a:rPr lang="en-US" dirty="0"/>
              <a:t>rather than individual level.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CF1F85-B64C-7770-94E7-540B8BC4C146}"/>
              </a:ext>
            </a:extLst>
          </p:cNvPr>
          <p:cNvSpPr txBox="1"/>
          <p:nvPr/>
        </p:nvSpPr>
        <p:spPr>
          <a:xfrm>
            <a:off x="472632" y="2976215"/>
            <a:ext cx="110709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trol units are matched individuals who are either never treated or not yet treated. Both treatment and</a:t>
            </a:r>
          </a:p>
          <a:p>
            <a:r>
              <a:rPr lang="en-US" dirty="0"/>
              <a:t>control individuals require six years of tenure and to be in a firm of sufficient size (to trigger a mass layoff)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329E63-FF3A-9B01-1A1D-DF399FE5EA0A}"/>
              </a:ext>
            </a:extLst>
          </p:cNvPr>
          <p:cNvSpPr txBox="1"/>
          <p:nvPr/>
        </p:nvSpPr>
        <p:spPr>
          <a:xfrm>
            <a:off x="472631" y="3798329"/>
            <a:ext cx="112326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ss layoff is defined as a situation where a firm loses at least 30% of its staff in a given year, and does not</a:t>
            </a:r>
            <a:br>
              <a:rPr lang="en-US" dirty="0"/>
            </a:br>
            <a:r>
              <a:rPr lang="en-US" dirty="0"/>
              <a:t>rehire in the following year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Outcome of group assign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85D978-77CA-5C1C-FEE1-65C0F362C718}"/>
              </a:ext>
            </a:extLst>
          </p:cNvPr>
          <p:cNvSpPr txBox="1"/>
          <p:nvPr/>
        </p:nvSpPr>
        <p:spPr>
          <a:xfrm>
            <a:off x="698643" y="5876818"/>
            <a:ext cx="9075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 the coming slides we will outline how the treatment and control groups are assigned.</a:t>
            </a:r>
            <a:endParaRPr lang="en-AU"/>
          </a:p>
        </p:txBody>
      </p:sp>
      <p:pic>
        <p:nvPicPr>
          <p:cNvPr id="11" name="Picture 10" descr="A graph of a graph showing a number of groups&#10;&#10;Description automatically generated with medium confidence">
            <a:extLst>
              <a:ext uri="{FF2B5EF4-FFF2-40B4-BE49-F238E27FC236}">
                <a16:creationId xmlns:a16="http://schemas.microsoft.com/office/drawing/2014/main" id="{AED52A86-343A-D1EB-71DF-F2764A4DC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809" y="1162050"/>
            <a:ext cx="5600700" cy="453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3954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oup-time treatment effects – wage scars</a:t>
            </a:r>
            <a:endParaRPr lang="en-AU"/>
          </a:p>
        </p:txBody>
      </p:sp>
      <p:pic>
        <p:nvPicPr>
          <p:cNvPr id="8" name="Picture 7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9C64F143-67BE-160D-44E5-6C01ED5CC7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74" y="1280818"/>
            <a:ext cx="6153150" cy="4591050"/>
          </a:xfrm>
          <a:prstGeom prst="rect">
            <a:avLst/>
          </a:prstGeom>
        </p:spPr>
      </p:pic>
      <p:pic>
        <p:nvPicPr>
          <p:cNvPr id="10" name="Picture 9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D1FC403C-D8B4-11A6-7445-B62A48C269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74" y="1280818"/>
            <a:ext cx="6153149" cy="4591049"/>
          </a:xfrm>
          <a:prstGeom prst="rect">
            <a:avLst/>
          </a:prstGeom>
        </p:spPr>
      </p:pic>
      <p:pic>
        <p:nvPicPr>
          <p:cNvPr id="15" name="Picture 14" descr="A graph of a patient's health&#10;&#10;Description automatically generated with medium confidence">
            <a:extLst>
              <a:ext uri="{FF2B5EF4-FFF2-40B4-BE49-F238E27FC236}">
                <a16:creationId xmlns:a16="http://schemas.microsoft.com/office/drawing/2014/main" id="{23801B57-F185-7FB9-2579-39B0FF46C8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575" y="1280817"/>
            <a:ext cx="6153150" cy="4591050"/>
          </a:xfrm>
          <a:prstGeom prst="rect">
            <a:avLst/>
          </a:prstGeom>
        </p:spPr>
      </p:pic>
      <p:pic>
        <p:nvPicPr>
          <p:cNvPr id="17" name="Picture 16" descr="A graph of a patient's health&#10;&#10;Description automatically generated">
            <a:extLst>
              <a:ext uri="{FF2B5EF4-FFF2-40B4-BE49-F238E27FC236}">
                <a16:creationId xmlns:a16="http://schemas.microsoft.com/office/drawing/2014/main" id="{D54DAD86-BCA4-B278-B4A1-F553E42909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4604" y="1071267"/>
            <a:ext cx="6201320" cy="483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701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dustry result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7A19EC-0E23-282C-A9EC-D5CFDDA0BFD3}"/>
              </a:ext>
            </a:extLst>
          </p:cNvPr>
          <p:cNvSpPr txBox="1"/>
          <p:nvPr/>
        </p:nvSpPr>
        <p:spPr>
          <a:xfrm>
            <a:off x="462337" y="1280818"/>
            <a:ext cx="5542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t this stage we only have high level industry results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462337" y="5538727"/>
            <a:ext cx="107141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imary industries (agriculture, mining) have a larger scars (as in Dwyer et al (2023) and IFS (2023)). </a:t>
            </a:r>
          </a:p>
          <a:p>
            <a:r>
              <a:rPr lang="en-US" dirty="0"/>
              <a:t>However, the trajectory by broad industry is similar.</a:t>
            </a:r>
            <a:endParaRPr lang="en-AU" dirty="0"/>
          </a:p>
        </p:txBody>
      </p:sp>
      <p:pic>
        <p:nvPicPr>
          <p:cNvPr id="7" name="Picture 6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14F99C-7DBB-3674-47DD-4981E472A4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215" y="1855846"/>
            <a:ext cx="4288788" cy="3515639"/>
          </a:xfrm>
          <a:prstGeom prst="rect">
            <a:avLst/>
          </a:prstGeom>
        </p:spPr>
      </p:pic>
      <p:pic>
        <p:nvPicPr>
          <p:cNvPr id="16" name="Picture 15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9D601075-35A1-9FBC-8C90-52DDCE5CC3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855845"/>
            <a:ext cx="4398289" cy="35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6889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terogeneity – Industry mobility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370417" y="5152695"/>
            <a:ext cx="1016220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Employment shares similar across industry groups (except primary which is much lower)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Long-tenure assumptions limit treated number from sales, expand numbers from public servic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dirty="0"/>
              <a:t>Larger scaring occurs in sectors where more individuals transition to another sector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10A859-EA82-C69E-8A33-45B4252D5F16}"/>
              </a:ext>
            </a:extLst>
          </p:cNvPr>
          <p:cNvSpPr txBox="1"/>
          <p:nvPr/>
        </p:nvSpPr>
        <p:spPr>
          <a:xfrm>
            <a:off x="1615165" y="1197592"/>
            <a:ext cx="8802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Y-axis reflects industry prior to mass layoff, </a:t>
            </a:r>
            <a:r>
              <a:rPr lang="en-US" i="1" dirty="0" err="1"/>
              <a:t>colour</a:t>
            </a:r>
            <a:r>
              <a:rPr lang="en-US" i="1" dirty="0"/>
              <a:t> represents transition 5 years later.</a:t>
            </a:r>
            <a:endParaRPr lang="en-AU" i="1" dirty="0"/>
          </a:p>
        </p:txBody>
      </p:sp>
      <p:pic>
        <p:nvPicPr>
          <p:cNvPr id="8" name="Picture 7" descr="A graph of different colored squares&#10;&#10;Description automatically generated">
            <a:extLst>
              <a:ext uri="{FF2B5EF4-FFF2-40B4-BE49-F238E27FC236}">
                <a16:creationId xmlns:a16="http://schemas.microsoft.com/office/drawing/2014/main" id="{7371E449-1F9A-3FAD-F46E-F34D9CAA5C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05" y="1723184"/>
            <a:ext cx="5413067" cy="3115434"/>
          </a:xfrm>
          <a:prstGeom prst="rect">
            <a:avLst/>
          </a:prstGeom>
        </p:spPr>
      </p:pic>
      <p:pic>
        <p:nvPicPr>
          <p:cNvPr id="12" name="Picture 11" descr="A graph with numbers and text&#10;&#10;Description automatically generated with medium confidence">
            <a:extLst>
              <a:ext uri="{FF2B5EF4-FFF2-40B4-BE49-F238E27FC236}">
                <a16:creationId xmlns:a16="http://schemas.microsoft.com/office/drawing/2014/main" id="{4D0D8DB2-7FAE-9105-6F7F-EC6952F412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072" y="1754694"/>
            <a:ext cx="5017943" cy="2924125"/>
          </a:xfrm>
          <a:prstGeom prst="rect">
            <a:avLst/>
          </a:prstGeom>
        </p:spPr>
      </p:pic>
      <p:pic>
        <p:nvPicPr>
          <p:cNvPr id="15" name="Picture 14" descr="A graph of blue squares&#10;&#10;Description automatically generated">
            <a:extLst>
              <a:ext uri="{FF2B5EF4-FFF2-40B4-BE49-F238E27FC236}">
                <a16:creationId xmlns:a16="http://schemas.microsoft.com/office/drawing/2014/main" id="{258195B1-CF4B-2D31-E9C8-FA40F7A8A1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36" y="1594895"/>
            <a:ext cx="4646311" cy="358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95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come bi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AD4778-A9CC-0EBB-EC9A-6B1500731859}"/>
              </a:ext>
            </a:extLst>
          </p:cNvPr>
          <p:cNvSpPr txBox="1"/>
          <p:nvPr/>
        </p:nvSpPr>
        <p:spPr>
          <a:xfrm>
            <a:off x="413671" y="5147261"/>
            <a:ext cx="76112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p and bottom quantile experiences the largest proportional scarring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2B2A33-9116-3BB8-81E6-FAC3713EA8C5}"/>
              </a:ext>
            </a:extLst>
          </p:cNvPr>
          <p:cNvSpPr txBox="1"/>
          <p:nvPr/>
        </p:nvSpPr>
        <p:spPr>
          <a:xfrm>
            <a:off x="413671" y="5855578"/>
            <a:ext cx="8424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ffers from US results of similar distributional scarring (Rose &amp; </a:t>
            </a:r>
            <a:r>
              <a:rPr lang="en-NZ" dirty="0"/>
              <a:t>Shem-Tov 2023).</a:t>
            </a:r>
            <a:endParaRPr lang="en-AU" dirty="0"/>
          </a:p>
        </p:txBody>
      </p:sp>
      <p:pic>
        <p:nvPicPr>
          <p:cNvPr id="12" name="Picture 11" descr="A graph of a graph showing the amount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D7032F44-020E-9642-AB06-62689914D8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26" y="1137682"/>
            <a:ext cx="5695313" cy="3773365"/>
          </a:xfrm>
          <a:prstGeom prst="rect">
            <a:avLst/>
          </a:prstGeom>
        </p:spPr>
      </p:pic>
      <p:pic>
        <p:nvPicPr>
          <p:cNvPr id="16" name="Picture 15" descr="A graph of a graph showing the amount of a scar that has been stacked&#10;&#10;Description automatically generated with medium confidence">
            <a:extLst>
              <a:ext uri="{FF2B5EF4-FFF2-40B4-BE49-F238E27FC236}">
                <a16:creationId xmlns:a16="http://schemas.microsoft.com/office/drawing/2014/main" id="{11ABF242-1F1C-E09C-92A8-06920F0744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440" y="1133817"/>
            <a:ext cx="5695313" cy="3861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717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2796F-FA20-78CD-BFB9-9AB457F4B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8D6730-1415-EBB3-F95D-6C7141050F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A24AA6-4A25-773D-A69B-52B8D8D5E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endParaRPr lang="en-A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BCA41D1-DA23-B83C-B83B-2B07EF4BE3B0}"/>
              </a:ext>
            </a:extLst>
          </p:cNvPr>
          <p:cNvGrpSpPr/>
          <p:nvPr/>
        </p:nvGrpSpPr>
        <p:grpSpPr>
          <a:xfrm>
            <a:off x="598811" y="2913452"/>
            <a:ext cx="10178292" cy="3364327"/>
            <a:chOff x="598812" y="3340823"/>
            <a:chExt cx="10178292" cy="336432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5F22D7D-E949-32BB-ABA4-162E07FF8855}"/>
                </a:ext>
              </a:extLst>
            </p:cNvPr>
            <p:cNvSpPr txBox="1"/>
            <p:nvPr/>
          </p:nvSpPr>
          <p:spPr>
            <a:xfrm flipH="1">
              <a:off x="598813" y="4209894"/>
              <a:ext cx="85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Results</a:t>
              </a:r>
              <a:endParaRPr lang="en-AU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7A269BF-3079-733D-BDB2-3E83F00FC432}"/>
                </a:ext>
              </a:extLst>
            </p:cNvPr>
            <p:cNvSpPr txBox="1"/>
            <p:nvPr/>
          </p:nvSpPr>
          <p:spPr>
            <a:xfrm flipH="1">
              <a:off x="778313" y="4673825"/>
              <a:ext cx="9998791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Expenditure declines persistently – by about 10% - following the experience of job los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Elevated job loss expectations explain part of the initial decline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Voluntarily displaced individuals, and individuals who don’t take up benefits, experience smaller decline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Work related expenses appear to explain most of the initial decline in expenditure for non-recipient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AU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CA7F21D-5F05-0E51-6F90-7AB47AB516CE}"/>
                </a:ext>
              </a:extLst>
            </p:cNvPr>
            <p:cNvSpPr txBox="1"/>
            <p:nvPr/>
          </p:nvSpPr>
          <p:spPr>
            <a:xfrm flipH="1">
              <a:off x="598812" y="3340823"/>
              <a:ext cx="95269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i="1" dirty="0"/>
                <a:t>Answer</a:t>
              </a:r>
              <a:r>
                <a:rPr lang="en-US" i="1" dirty="0"/>
                <a:t>: Benefit targeting looks effective at reducing fiscal costs while targeting those who need the additional insurance – especially among those who are in a relationship.</a:t>
              </a:r>
              <a:endParaRPr lang="en-AU" i="1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A756EFB6-B854-928D-F351-FFE30C59EF68}"/>
              </a:ext>
            </a:extLst>
          </p:cNvPr>
          <p:cNvSpPr txBox="1"/>
          <p:nvPr/>
        </p:nvSpPr>
        <p:spPr>
          <a:xfrm flipH="1">
            <a:off x="598813" y="1061114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ethods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15ECE0-16DB-A995-DA92-0B7E98CA917B}"/>
              </a:ext>
            </a:extLst>
          </p:cNvPr>
          <p:cNvSpPr txBox="1"/>
          <p:nvPr/>
        </p:nvSpPr>
        <p:spPr>
          <a:xfrm flipH="1">
            <a:off x="778312" y="1478195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penditure</a:t>
            </a:r>
            <a:r>
              <a:rPr lang="en-US" dirty="0"/>
              <a:t> </a:t>
            </a:r>
            <a:r>
              <a:rPr lang="en-US" b="1" dirty="0"/>
              <a:t>scars</a:t>
            </a:r>
            <a:r>
              <a:rPr lang="en-US" dirty="0"/>
              <a:t>: </a:t>
            </a:r>
            <a:r>
              <a:rPr lang="en-US" dirty="0">
                <a:solidFill>
                  <a:srgbClr val="00B050"/>
                </a:solidFill>
              </a:rPr>
              <a:t>Event study</a:t>
            </a:r>
            <a:r>
              <a:rPr lang="en-US" dirty="0"/>
              <a:t> estimate of the dynamic path of expenditure for those who lose their job, relative to those who don’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eparating final and intermediate consumption</a:t>
            </a:r>
            <a:r>
              <a:rPr lang="en-US" dirty="0"/>
              <a:t>: </a:t>
            </a:r>
            <a:r>
              <a:rPr lang="en-US" dirty="0">
                <a:solidFill>
                  <a:srgbClr val="00B050"/>
                </a:solidFill>
              </a:rPr>
              <a:t>Instrumental variable approach</a:t>
            </a:r>
            <a:r>
              <a:rPr lang="en-US" dirty="0"/>
              <a:t> to estimate the expenditure decline due to working from ho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31279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7AF907-8A14-E228-78C5-14BFBCDD5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easuring a consumption scar?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11274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5F921-F142-4E95-A802-C4EBABE67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A8ADCA-3545-CABA-9F0D-69B55D1287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BEFA64-5E4A-F41E-1DEB-725BE4AD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70DA15-EB03-95DF-6C97-DCBAB971837E}"/>
              </a:ext>
            </a:extLst>
          </p:cNvPr>
          <p:cNvSpPr txBox="1"/>
          <p:nvPr/>
        </p:nvSpPr>
        <p:spPr>
          <a:xfrm flipH="1">
            <a:off x="598813" y="1774160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tistics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1F1037-FD3C-4BCB-CEB8-25D06CE72EF0}"/>
              </a:ext>
            </a:extLst>
          </p:cNvPr>
          <p:cNvSpPr txBox="1"/>
          <p:nvPr/>
        </p:nvSpPr>
        <p:spPr>
          <a:xfrm flipH="1">
            <a:off x="760384" y="2235825"/>
            <a:ext cx="999879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s data between 2005 and 20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cused on individuals aged between 25 and 54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 is non-durable spending, </a:t>
            </a:r>
            <a:r>
              <a:rPr lang="en-US" dirty="0" err="1"/>
              <a:t>annualised</a:t>
            </a:r>
            <a:r>
              <a:rPr lang="en-US" dirty="0"/>
              <a:t>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Job loss</a:t>
            </a:r>
            <a:r>
              <a:rPr lang="en-US" dirty="0"/>
              <a:t> defined as a transition from employment to unemployment (not NILF) for the </a:t>
            </a:r>
            <a:r>
              <a:rPr lang="en-US" b="1" dirty="0"/>
              <a:t>head of the household</a:t>
            </a:r>
            <a:r>
              <a:rPr lang="en-US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636 treated individu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hen comparing benefit recipients to non-recipi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Recipients:  Those who receive JSP/NSA in the year of first job loss – 178 individual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Non-recipients:  Those who do not receive any first income support payment (includes DSP) – 434 individuals.</a:t>
            </a:r>
            <a:endParaRPr lang="en-AU" dirty="0">
              <a:solidFill>
                <a:srgbClr val="FF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ain estimates use an unbalanced pane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A panel balanced for the 9 years around event time gives similar results (</a:t>
            </a:r>
            <a:r>
              <a:rPr lang="en-AU" dirty="0">
                <a:hlinkClick r:id="rId2" action="ppaction://hlinksldjump"/>
              </a:rPr>
              <a:t>Appendix</a:t>
            </a:r>
            <a:r>
              <a:rPr lang="en-AU" dirty="0"/>
              <a:t>)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694955-182E-751A-B318-CB59FF3DFD53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03343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982994-9224-09C2-7F87-93ECA8FF6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682111-9AA6-444F-FE0C-AF016CBC99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A00600-9B15-0BAC-98FE-332C3C13C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BE1726-E04C-008E-2272-A775EFC59822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  <p:pic>
        <p:nvPicPr>
          <p:cNvPr id="7" name="Picture 6" descr="A graph of a graph with blue lines&#10;&#10;Description automatically generated with medium confidence">
            <a:extLst>
              <a:ext uri="{FF2B5EF4-FFF2-40B4-BE49-F238E27FC236}">
                <a16:creationId xmlns:a16="http://schemas.microsoft.com/office/drawing/2014/main" id="{438E566F-BF8F-CE92-C0C5-434C82D77F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4037" y="2048679"/>
            <a:ext cx="5600700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326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020C4-FEA2-2479-7DE9-CD0ED551D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45CCAE-926C-013A-D76E-B99ABA377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4920FC-53F9-F1B1-F185-F501248B4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32663"/>
            <a:ext cx="11459365" cy="700597"/>
          </a:xfrm>
        </p:spPr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B7F913-2011-0C9D-DC12-0EF58212E907}"/>
              </a:ext>
            </a:extLst>
          </p:cNvPr>
          <p:cNvSpPr txBox="1"/>
          <p:nvPr/>
        </p:nvSpPr>
        <p:spPr>
          <a:xfrm flipH="1">
            <a:off x="598813" y="637627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/>
              <p:nvPr/>
            </p:nvSpPr>
            <p:spPr>
              <a:xfrm>
                <a:off x="1959899" y="1115693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1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5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899" y="1115693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248D5F3-99E0-12D9-B3B3-9604FD7DCDDD}"/>
                  </a:ext>
                </a:extLst>
              </p:cNvPr>
              <p:cNvSpPr txBox="1"/>
              <p:nvPr/>
            </p:nvSpPr>
            <p:spPr>
              <a:xfrm>
                <a:off x="299111" y="2101022"/>
                <a:ext cx="11209287" cy="45243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AU" dirty="0"/>
                  <a:t>reflects the log consumption of individual </a:t>
                </a:r>
                <a:r>
                  <a:rPr lang="en-AU" i="1" dirty="0" err="1"/>
                  <a:t>i</a:t>
                </a:r>
                <a:r>
                  <a:rPr lang="en-AU" i="1" dirty="0"/>
                  <a:t> </a:t>
                </a:r>
                <a:r>
                  <a:rPr lang="en-AU" dirty="0"/>
                  <a:t>at time </a:t>
                </a:r>
                <a:r>
                  <a:rPr lang="en-AU" i="1" dirty="0"/>
                  <a:t>t</a:t>
                </a:r>
                <a:r>
                  <a:rPr lang="en-AU" dirty="0"/>
                  <a:t>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 are individual and time fixed effects, whi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s an idiosyncratic error term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re a set of time varying individual characteristics: age squared, square root of number of persons </a:t>
                </a:r>
                <a:br>
                  <a:rPr lang="en-AU" dirty="0"/>
                </a:br>
                <a:r>
                  <a:rPr lang="en-AU" dirty="0"/>
                  <a:t>in household, duration of unemployment, other (non-first tier) transfers, number of children, relationship,</a:t>
                </a:r>
                <a:br>
                  <a:rPr lang="en-AU" dirty="0"/>
                </a:br>
                <a:r>
                  <a:rPr lang="en-AU" dirty="0"/>
                  <a:t>real personal income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𝐼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𝑔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𝑘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AU" dirty="0"/>
                  <a:t> is an indicator variable that takes a value of 1 if the </a:t>
                </a:r>
                <a:r>
                  <a:rPr lang="en-AU" i="1" dirty="0" err="1"/>
                  <a:t>gth</a:t>
                </a:r>
                <a:r>
                  <a:rPr lang="en-AU" dirty="0"/>
                  <a:t> cohort is </a:t>
                </a:r>
                <a:r>
                  <a:rPr lang="en-AU" i="1" dirty="0"/>
                  <a:t>k</a:t>
                </a:r>
                <a:r>
                  <a:rPr lang="en-AU" dirty="0"/>
                  <a:t> periods away from</a:t>
                </a:r>
                <a:br>
                  <a:rPr lang="en-AU" dirty="0"/>
                </a:br>
                <a:r>
                  <a:rPr lang="en-AU" dirty="0"/>
                  <a:t>treatment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AU" dirty="0"/>
                  <a:t> is an indicator that takes a value of 1 is if this is a treated individual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This is estimated using an interaction weighted estimator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An effect is estimated for each cohort (year of treatment), which are then aggregated up based</a:t>
                </a:r>
                <a:br>
                  <a:rPr lang="en-AU" dirty="0"/>
                </a:br>
                <a:r>
                  <a:rPr lang="en-AU" dirty="0"/>
                  <a:t>on the cohort size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Use </a:t>
                </a:r>
                <a:r>
                  <a:rPr lang="en-AU" dirty="0" err="1"/>
                  <a:t>sunab</a:t>
                </a:r>
                <a:r>
                  <a:rPr lang="en-AU" dirty="0"/>
                  <a:t> function in R, so control group is made up of both never and not-yet treated.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248D5F3-99E0-12D9-B3B3-9604FD7D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111" y="2101022"/>
                <a:ext cx="11209287" cy="4524315"/>
              </a:xfrm>
              <a:prstGeom prst="rect">
                <a:avLst/>
              </a:prstGeom>
              <a:blipFill>
                <a:blip r:embed="rId3"/>
                <a:stretch>
                  <a:fillRect l="-326" t="-809" b="-121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92304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7d282f-583c-4187-bacc-d7073644b746" xsi:nil="true"/>
    <lcf76f155ced4ddcb4097134ff3c332f xmlns="6c454ab8-65ae-4d3a-ba75-39d5f796b864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27605B2E3184A8DD5351DD5A4E365" ma:contentTypeVersion="12" ma:contentTypeDescription="Create a new document." ma:contentTypeScope="" ma:versionID="4c9787c4a95524a945545efc953f5a50">
  <xsd:schema xmlns:xsd="http://www.w3.org/2001/XMLSchema" xmlns:xs="http://www.w3.org/2001/XMLSchema" xmlns:p="http://schemas.microsoft.com/office/2006/metadata/properties" xmlns:ns2="6c454ab8-65ae-4d3a-ba75-39d5f796b864" xmlns:ns3="c17d282f-583c-4187-bacc-d7073644b746" targetNamespace="http://schemas.microsoft.com/office/2006/metadata/properties" ma:root="true" ma:fieldsID="a0e91b7bdda02efb5b084bd52153b7ff" ns2:_="" ns3:_="">
    <xsd:import namespace="6c454ab8-65ae-4d3a-ba75-39d5f796b864"/>
    <xsd:import namespace="c17d282f-583c-4187-bacc-d7073644b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54ab8-65ae-4d3a-ba75-39d5f796b8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d282f-583c-4187-bacc-d7073644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aa90806-54a7-4bcd-88f4-acde02912f6c}" ma:internalName="TaxCatchAll" ma:showField="CatchAllData" ma:web="c17d282f-583c-4187-bacc-d7073644b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36B762-179B-48EA-90B2-E74079BA15DE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6c454ab8-65ae-4d3a-ba75-39d5f796b864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17d282f-583c-4187-bacc-d7073644b74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1042647-F30F-4E3D-A70D-C55D43BF2E36}">
  <ds:schemaRefs>
    <ds:schemaRef ds:uri="6c454ab8-65ae-4d3a-ba75-39d5f796b864"/>
    <ds:schemaRef ds:uri="c17d282f-583c-4187-bacc-d7073644b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5930</TotalTime>
  <Words>2777</Words>
  <Application>Microsoft Office PowerPoint</Application>
  <PresentationFormat>Widescreen</PresentationFormat>
  <Paragraphs>292</Paragraphs>
  <Slides>4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6" baseType="lpstr">
      <vt:lpstr>Arial</vt:lpstr>
      <vt:lpstr>Calibri</vt:lpstr>
      <vt:lpstr>Cambria Math</vt:lpstr>
      <vt:lpstr>Graphik</vt:lpstr>
      <vt:lpstr>GT Sectra Fine</vt:lpstr>
      <vt:lpstr>Proxima Nova Rg</vt:lpstr>
      <vt:lpstr>System Font</vt:lpstr>
      <vt:lpstr>e61 slide master</vt:lpstr>
      <vt:lpstr>think-cell Slide</vt:lpstr>
      <vt:lpstr>Effectiveness of benefit targeting</vt:lpstr>
      <vt:lpstr>Motivation: Reforming social security into “unemployment insurance”</vt:lpstr>
      <vt:lpstr>Question for today</vt:lpstr>
      <vt:lpstr>Insurance and optimal benefits</vt:lpstr>
      <vt:lpstr>Summary</vt:lpstr>
      <vt:lpstr>PowerPoint Presentation</vt:lpstr>
      <vt:lpstr>Data</vt:lpstr>
      <vt:lpstr>Data</vt:lpstr>
      <vt:lpstr>Approach</vt:lpstr>
      <vt:lpstr>Approach</vt:lpstr>
      <vt:lpstr>Why would expenditure change after job loss?</vt:lpstr>
      <vt:lpstr>Expenditure Scar</vt:lpstr>
      <vt:lpstr>Type of unemployment scar</vt:lpstr>
      <vt:lpstr>PowerPoint Presentation</vt:lpstr>
      <vt:lpstr>Individuals, government, determine whether you receive income support</vt:lpstr>
      <vt:lpstr>Benefit type</vt:lpstr>
      <vt:lpstr>Benefit type: Partnership status</vt:lpstr>
      <vt:lpstr>PowerPoint Presentation</vt:lpstr>
      <vt:lpstr>Why would expenditure change after job loss?</vt:lpstr>
      <vt:lpstr>Non-recipients and the role of employment</vt:lpstr>
      <vt:lpstr>Work related expenses</vt:lpstr>
      <vt:lpstr>Work related expenses</vt:lpstr>
      <vt:lpstr>COVID Working from home</vt:lpstr>
      <vt:lpstr>First stage</vt:lpstr>
      <vt:lpstr>COVID Working from home</vt:lpstr>
      <vt:lpstr>COVID Working from home</vt:lpstr>
      <vt:lpstr>PowerPoint Presentation</vt:lpstr>
      <vt:lpstr>Key lessons</vt:lpstr>
      <vt:lpstr>PowerPoint Presentation</vt:lpstr>
      <vt:lpstr>Background information</vt:lpstr>
      <vt:lpstr>PowerPoint Presentation</vt:lpstr>
      <vt:lpstr>Not-yet treated</vt:lpstr>
      <vt:lpstr>Balanced panel</vt:lpstr>
      <vt:lpstr>PowerPoint Presentation</vt:lpstr>
      <vt:lpstr>Insurance and labour supply</vt:lpstr>
      <vt:lpstr>Do beneficiaries “bunch” at the abatement threshold?</vt:lpstr>
      <vt:lpstr>Extensive Margin: COVID Benefit Changes</vt:lpstr>
      <vt:lpstr>Extensive Margin: COVID Benefit Changes</vt:lpstr>
      <vt:lpstr>PowerPoint Presentation</vt:lpstr>
      <vt:lpstr>Income scarring from job loss (HILDA)</vt:lpstr>
      <vt:lpstr>Income scarring from job loss for non-benefit recipient (HILDA)</vt:lpstr>
      <vt:lpstr>Event study approach – mass layoffs (PLIDA)</vt:lpstr>
      <vt:lpstr>Outcome of group assignment</vt:lpstr>
      <vt:lpstr>Group-time treatment effects – wage scars</vt:lpstr>
      <vt:lpstr>Heterogeneity – Industry results</vt:lpstr>
      <vt:lpstr>Heterogeneity – Industry mobility</vt:lpstr>
      <vt:lpstr>Heterogeneity – Income bi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Nolan</dc:creator>
  <cp:lastModifiedBy>Matt Nolan</cp:lastModifiedBy>
  <cp:revision>67</cp:revision>
  <dcterms:created xsi:type="dcterms:W3CDTF">2024-01-15T03:02:27Z</dcterms:created>
  <dcterms:modified xsi:type="dcterms:W3CDTF">2024-11-20T05:2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427605B2E3184A8DD5351DD5A4E365</vt:lpwstr>
  </property>
  <property fmtid="{D5CDD505-2E9C-101B-9397-08002B2CF9AE}" pid="3" name="MediaServiceImageTags">
    <vt:lpwstr/>
  </property>
</Properties>
</file>